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261" r:id="rId6"/>
    <p:sldId id="689" r:id="rId7"/>
    <p:sldId id="690" r:id="rId8"/>
    <p:sldId id="710" r:id="rId9"/>
    <p:sldId id="262" r:id="rId10"/>
    <p:sldId id="700" r:id="rId11"/>
    <p:sldId id="706" r:id="rId12"/>
    <p:sldId id="708" r:id="rId13"/>
    <p:sldId id="703" r:id="rId14"/>
    <p:sldId id="698" r:id="rId15"/>
    <p:sldId id="696" r:id="rId16"/>
    <p:sldId id="697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68A6EC6-F411-B70A-F683-6FCBF25190D2}" name="Stevens, Alison B. (DESE)" initials="S(" userId="S::alison.b.stevens@mass.gov::85685937-d9fc-48d0-8bc2-e5d3a421a7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97E7"/>
    <a:srgbClr val="AFCBFD"/>
    <a:srgbClr val="93A9FF"/>
    <a:srgbClr val="86A9E2"/>
    <a:srgbClr val="3647B6"/>
    <a:srgbClr val="4948B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8CFE8B-CB80-F922-9DBD-4072C0723AF1}" v="8" dt="2023-05-22T17:02:52.361"/>
    <p1510:client id="{AADB188C-A0FD-4616-94F7-396D19F3944B}" v="707" dt="2023-05-22T17:03:52.0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93792" autoAdjust="0"/>
  </p:normalViewPr>
  <p:slideViewPr>
    <p:cSldViewPr snapToGrid="0">
      <p:cViewPr varScale="1">
        <p:scale>
          <a:sx n="103" d="100"/>
          <a:sy n="103" d="100"/>
        </p:scale>
        <p:origin x="792" y="126"/>
      </p:cViewPr>
      <p:guideLst/>
    </p:cSldViewPr>
  </p:slideViewPr>
  <p:outlineViewPr>
    <p:cViewPr>
      <p:scale>
        <a:sx n="33" d="100"/>
        <a:sy n="33" d="100"/>
      </p:scale>
      <p:origin x="0" y="-6608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pixabay.com/en/competition-race-sport-run-1019774/" TargetMode="External"/><Relationship Id="rId1" Type="http://schemas.openxmlformats.org/officeDocument/2006/relationships/image" Target="../media/image7.jpeg"/><Relationship Id="rId6" Type="http://schemas.openxmlformats.org/officeDocument/2006/relationships/hyperlink" Target="https://pixabay.com/en/students-classroom-learn-school-377789/" TargetMode="External"/><Relationship Id="rId5" Type="http://schemas.openxmlformats.org/officeDocument/2006/relationships/image" Target="../media/image9.jpeg"/><Relationship Id="rId4" Type="http://schemas.openxmlformats.org/officeDocument/2006/relationships/hyperlink" Target="https://pixabay.com/en/finance-dollar-financial-world-634901/" TargetMode="External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hyperlink" Target="https://malegislature.gov/Laws/SessionLaws/Acts/2019/Chapter132" TargetMode="External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pixabay.com/en/competition-race-sport-run-1019774/" TargetMode="External"/><Relationship Id="rId1" Type="http://schemas.openxmlformats.org/officeDocument/2006/relationships/image" Target="../media/image7.jpeg"/><Relationship Id="rId6" Type="http://schemas.openxmlformats.org/officeDocument/2006/relationships/hyperlink" Target="https://pixabay.com/en/students-classroom-learn-school-377789/" TargetMode="External"/><Relationship Id="rId5" Type="http://schemas.openxmlformats.org/officeDocument/2006/relationships/image" Target="../media/image9.jpeg"/><Relationship Id="rId4" Type="http://schemas.openxmlformats.org/officeDocument/2006/relationships/hyperlink" Target="https://pixabay.com/en/finance-dollar-financial-world-634901/" TargetMode="External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hyperlink" Target="https://malegislature.gov/Laws/SessionLaws/Acts/2019/Chapter132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FAE5B2-4F0C-4C47-96BE-BA00136F28AF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04DBC87-436D-4D7D-9DEE-D210AD5B272B}">
      <dgm:prSet/>
      <dgm:spPr/>
      <dgm:t>
        <a:bodyPr/>
        <a:lstStyle/>
        <a:p>
          <a:r>
            <a:rPr lang="en-US"/>
            <a:t>Roles &amp; Responsibilities – Shared Goal</a:t>
          </a:r>
        </a:p>
      </dgm:t>
    </dgm:pt>
    <dgm:pt modelId="{BEF9033D-F0D2-41F2-824A-04D1D2445754}" type="parTrans" cxnId="{5399F0C0-D24F-4468-96A1-D42351AFAE5D}">
      <dgm:prSet/>
      <dgm:spPr/>
      <dgm:t>
        <a:bodyPr/>
        <a:lstStyle/>
        <a:p>
          <a:endParaRPr lang="en-US"/>
        </a:p>
      </dgm:t>
    </dgm:pt>
    <dgm:pt modelId="{CE9E291B-6E91-464F-B724-B1BCB0CF0EB9}" type="sibTrans" cxnId="{5399F0C0-D24F-4468-96A1-D42351AFAE5D}">
      <dgm:prSet/>
      <dgm:spPr/>
      <dgm:t>
        <a:bodyPr/>
        <a:lstStyle/>
        <a:p>
          <a:endParaRPr lang="en-US"/>
        </a:p>
      </dgm:t>
    </dgm:pt>
    <dgm:pt modelId="{83211E97-43EA-4EE3-AB95-2607AD1E3E95}">
      <dgm:prSet/>
      <dgm:spPr/>
      <dgm:t>
        <a:bodyPr/>
        <a:lstStyle/>
        <a:p>
          <a:r>
            <a:rPr lang="en-US"/>
            <a:t>Updates on Evidence-Based Practice Grant</a:t>
          </a:r>
        </a:p>
      </dgm:t>
    </dgm:pt>
    <dgm:pt modelId="{B12DD08E-F1A9-41A1-9FB8-482BD65983CC}" type="parTrans" cxnId="{0E2B1AD9-68DC-431C-BB3A-EE6A4FB3DC2D}">
      <dgm:prSet/>
      <dgm:spPr/>
      <dgm:t>
        <a:bodyPr/>
        <a:lstStyle/>
        <a:p>
          <a:endParaRPr lang="en-US"/>
        </a:p>
      </dgm:t>
    </dgm:pt>
    <dgm:pt modelId="{649EBB4B-5C92-46F6-AA5E-76F80A0C0147}" type="sibTrans" cxnId="{0E2B1AD9-68DC-431C-BB3A-EE6A4FB3DC2D}">
      <dgm:prSet/>
      <dgm:spPr/>
      <dgm:t>
        <a:bodyPr/>
        <a:lstStyle/>
        <a:p>
          <a:endParaRPr lang="en-US"/>
        </a:p>
      </dgm:t>
    </dgm:pt>
    <dgm:pt modelId="{EB4F773B-9948-4363-827D-5A82B8F7AFBD}">
      <dgm:prSet/>
      <dgm:spPr/>
      <dgm:t>
        <a:bodyPr/>
        <a:lstStyle/>
        <a:p>
          <a:r>
            <a:rPr lang="en-US"/>
            <a:t>Evaluation of EBP Grant</a:t>
          </a:r>
        </a:p>
      </dgm:t>
    </dgm:pt>
    <dgm:pt modelId="{5B393E27-7944-4FBE-A73A-3D6328AB746D}" type="parTrans" cxnId="{532AFB7A-ABF7-4C1C-A8B2-D75D561322BC}">
      <dgm:prSet/>
      <dgm:spPr/>
      <dgm:t>
        <a:bodyPr/>
        <a:lstStyle/>
        <a:p>
          <a:endParaRPr lang="en-US"/>
        </a:p>
      </dgm:t>
    </dgm:pt>
    <dgm:pt modelId="{FE81F3DC-7FE5-4237-995C-9B7E81B10848}" type="sibTrans" cxnId="{532AFB7A-ABF7-4C1C-A8B2-D75D561322BC}">
      <dgm:prSet/>
      <dgm:spPr/>
      <dgm:t>
        <a:bodyPr/>
        <a:lstStyle/>
        <a:p>
          <a:endParaRPr lang="en-US"/>
        </a:p>
      </dgm:t>
    </dgm:pt>
    <dgm:pt modelId="{56C73975-846B-4FA2-92B6-FBA461E7DE38}">
      <dgm:prSet/>
      <dgm:spPr/>
      <dgm:t>
        <a:bodyPr/>
        <a:lstStyle/>
        <a:p>
          <a:r>
            <a:rPr lang="en-US"/>
            <a:t>Closing</a:t>
          </a:r>
        </a:p>
      </dgm:t>
    </dgm:pt>
    <dgm:pt modelId="{B0DF3008-2636-477F-8DF3-4E44481E3D44}" type="parTrans" cxnId="{DBDDA043-0020-4EFF-9E4C-2ABC3A426171}">
      <dgm:prSet/>
      <dgm:spPr/>
      <dgm:t>
        <a:bodyPr/>
        <a:lstStyle/>
        <a:p>
          <a:endParaRPr lang="en-US"/>
        </a:p>
      </dgm:t>
    </dgm:pt>
    <dgm:pt modelId="{5044A27C-A07F-4FF8-84CF-1184D5C063C6}" type="sibTrans" cxnId="{DBDDA043-0020-4EFF-9E4C-2ABC3A426171}">
      <dgm:prSet/>
      <dgm:spPr/>
      <dgm:t>
        <a:bodyPr/>
        <a:lstStyle/>
        <a:p>
          <a:endParaRPr lang="en-US"/>
        </a:p>
      </dgm:t>
    </dgm:pt>
    <dgm:pt modelId="{C3E98D8B-307B-42A6-B3C3-CF76A9CAE734}">
      <dgm:prSet/>
      <dgm:spPr/>
      <dgm:t>
        <a:bodyPr/>
        <a:lstStyle/>
        <a:p>
          <a:r>
            <a:rPr lang="en-US"/>
            <a:t>District SOA Updates</a:t>
          </a:r>
        </a:p>
      </dgm:t>
    </dgm:pt>
    <dgm:pt modelId="{C4721C57-2B05-45CA-A456-BFAE0A69FA33}" type="parTrans" cxnId="{DC1B56CB-195C-4738-A307-83BBE911AA4D}">
      <dgm:prSet/>
      <dgm:spPr/>
      <dgm:t>
        <a:bodyPr/>
        <a:lstStyle/>
        <a:p>
          <a:endParaRPr lang="en-US"/>
        </a:p>
      </dgm:t>
    </dgm:pt>
    <dgm:pt modelId="{5BD0E94F-F3D7-478B-99AC-E124E14E45B0}" type="sibTrans" cxnId="{DC1B56CB-195C-4738-A307-83BBE911AA4D}">
      <dgm:prSet/>
      <dgm:spPr/>
      <dgm:t>
        <a:bodyPr/>
        <a:lstStyle/>
        <a:p>
          <a:endParaRPr lang="en-US"/>
        </a:p>
      </dgm:t>
    </dgm:pt>
    <dgm:pt modelId="{E36A7077-84AF-457C-8F6D-10924BADA1B6}" type="pres">
      <dgm:prSet presAssocID="{0DFAE5B2-4F0C-4C47-96BE-BA00136F28AF}" presName="linear" presStyleCnt="0">
        <dgm:presLayoutVars>
          <dgm:dir/>
          <dgm:animLvl val="lvl"/>
          <dgm:resizeHandles val="exact"/>
        </dgm:presLayoutVars>
      </dgm:prSet>
      <dgm:spPr/>
    </dgm:pt>
    <dgm:pt modelId="{C1C6C162-5567-480A-A7A5-18B5FB586A44}" type="pres">
      <dgm:prSet presAssocID="{D04DBC87-436D-4D7D-9DEE-D210AD5B272B}" presName="parentLin" presStyleCnt="0"/>
      <dgm:spPr/>
    </dgm:pt>
    <dgm:pt modelId="{D73E0EC0-A1D0-4122-A3BD-CE1D21404F28}" type="pres">
      <dgm:prSet presAssocID="{D04DBC87-436D-4D7D-9DEE-D210AD5B272B}" presName="parentLeftMargin" presStyleLbl="node1" presStyleIdx="0" presStyleCnt="5"/>
      <dgm:spPr/>
    </dgm:pt>
    <dgm:pt modelId="{17F5CA52-FE53-4B02-B6A4-6BE31FEF806C}" type="pres">
      <dgm:prSet presAssocID="{D04DBC87-436D-4D7D-9DEE-D210AD5B272B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DA35F22A-F58F-473B-8A8C-4C4320A78ADC}" type="pres">
      <dgm:prSet presAssocID="{D04DBC87-436D-4D7D-9DEE-D210AD5B272B}" presName="negativeSpace" presStyleCnt="0"/>
      <dgm:spPr/>
    </dgm:pt>
    <dgm:pt modelId="{F98EEAE3-CC75-46BA-A7A5-A84819EC324F}" type="pres">
      <dgm:prSet presAssocID="{D04DBC87-436D-4D7D-9DEE-D210AD5B272B}" presName="childText" presStyleLbl="conFgAcc1" presStyleIdx="0" presStyleCnt="5">
        <dgm:presLayoutVars>
          <dgm:bulletEnabled val="1"/>
        </dgm:presLayoutVars>
      </dgm:prSet>
      <dgm:spPr/>
    </dgm:pt>
    <dgm:pt modelId="{86F497EB-8156-4E13-86E0-B3A0F16ACF1B}" type="pres">
      <dgm:prSet presAssocID="{CE9E291B-6E91-464F-B724-B1BCB0CF0EB9}" presName="spaceBetweenRectangles" presStyleCnt="0"/>
      <dgm:spPr/>
    </dgm:pt>
    <dgm:pt modelId="{2349DD91-941F-4BB5-BD15-13913D5491ED}" type="pres">
      <dgm:prSet presAssocID="{C3E98D8B-307B-42A6-B3C3-CF76A9CAE734}" presName="parentLin" presStyleCnt="0"/>
      <dgm:spPr/>
    </dgm:pt>
    <dgm:pt modelId="{8C362E3B-3596-4B79-B294-5630024AD8A7}" type="pres">
      <dgm:prSet presAssocID="{C3E98D8B-307B-42A6-B3C3-CF76A9CAE734}" presName="parentLeftMargin" presStyleLbl="node1" presStyleIdx="0" presStyleCnt="5"/>
      <dgm:spPr/>
    </dgm:pt>
    <dgm:pt modelId="{81F19E55-D14B-4F60-8B93-E00D1A468737}" type="pres">
      <dgm:prSet presAssocID="{C3E98D8B-307B-42A6-B3C3-CF76A9CAE734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EF9BCB8F-C4CD-4EBE-9399-17885C61E60F}" type="pres">
      <dgm:prSet presAssocID="{C3E98D8B-307B-42A6-B3C3-CF76A9CAE734}" presName="negativeSpace" presStyleCnt="0"/>
      <dgm:spPr/>
    </dgm:pt>
    <dgm:pt modelId="{D65BA056-698D-4638-9A51-B72B7CE1D339}" type="pres">
      <dgm:prSet presAssocID="{C3E98D8B-307B-42A6-B3C3-CF76A9CAE734}" presName="childText" presStyleLbl="conFgAcc1" presStyleIdx="1" presStyleCnt="5">
        <dgm:presLayoutVars>
          <dgm:bulletEnabled val="1"/>
        </dgm:presLayoutVars>
      </dgm:prSet>
      <dgm:spPr/>
    </dgm:pt>
    <dgm:pt modelId="{D6E99F9D-C697-41E8-88E8-0CC4689EE4F7}" type="pres">
      <dgm:prSet presAssocID="{5BD0E94F-F3D7-478B-99AC-E124E14E45B0}" presName="spaceBetweenRectangles" presStyleCnt="0"/>
      <dgm:spPr/>
    </dgm:pt>
    <dgm:pt modelId="{F7A088B8-DABE-4127-A69E-E9915A08DE2C}" type="pres">
      <dgm:prSet presAssocID="{83211E97-43EA-4EE3-AB95-2607AD1E3E95}" presName="parentLin" presStyleCnt="0"/>
      <dgm:spPr/>
    </dgm:pt>
    <dgm:pt modelId="{43A54E72-AE2F-44BC-BC71-BD7E25672340}" type="pres">
      <dgm:prSet presAssocID="{83211E97-43EA-4EE3-AB95-2607AD1E3E95}" presName="parentLeftMargin" presStyleLbl="node1" presStyleIdx="1" presStyleCnt="5"/>
      <dgm:spPr/>
    </dgm:pt>
    <dgm:pt modelId="{4A306AB1-7B3F-455D-9F4D-D92B8F3B6F4C}" type="pres">
      <dgm:prSet presAssocID="{83211E97-43EA-4EE3-AB95-2607AD1E3E95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D1E0942F-8203-44A2-909F-A13141153688}" type="pres">
      <dgm:prSet presAssocID="{83211E97-43EA-4EE3-AB95-2607AD1E3E95}" presName="negativeSpace" presStyleCnt="0"/>
      <dgm:spPr/>
    </dgm:pt>
    <dgm:pt modelId="{05AEC450-A1B7-4D99-A0C3-C2A5A43FC22F}" type="pres">
      <dgm:prSet presAssocID="{83211E97-43EA-4EE3-AB95-2607AD1E3E95}" presName="childText" presStyleLbl="conFgAcc1" presStyleIdx="2" presStyleCnt="5">
        <dgm:presLayoutVars>
          <dgm:bulletEnabled val="1"/>
        </dgm:presLayoutVars>
      </dgm:prSet>
      <dgm:spPr/>
    </dgm:pt>
    <dgm:pt modelId="{540E3953-F255-49EB-8042-F018E8836D62}" type="pres">
      <dgm:prSet presAssocID="{649EBB4B-5C92-46F6-AA5E-76F80A0C0147}" presName="spaceBetweenRectangles" presStyleCnt="0"/>
      <dgm:spPr/>
    </dgm:pt>
    <dgm:pt modelId="{52EC3256-B571-4509-8AB2-F064293A43F2}" type="pres">
      <dgm:prSet presAssocID="{EB4F773B-9948-4363-827D-5A82B8F7AFBD}" presName="parentLin" presStyleCnt="0"/>
      <dgm:spPr/>
    </dgm:pt>
    <dgm:pt modelId="{EAFFDFB6-DDBF-42C3-96A4-4A1B1DB06EFF}" type="pres">
      <dgm:prSet presAssocID="{EB4F773B-9948-4363-827D-5A82B8F7AFBD}" presName="parentLeftMargin" presStyleLbl="node1" presStyleIdx="2" presStyleCnt="5"/>
      <dgm:spPr/>
    </dgm:pt>
    <dgm:pt modelId="{90B343FC-F41F-44FF-A865-C4E729746BE9}" type="pres">
      <dgm:prSet presAssocID="{EB4F773B-9948-4363-827D-5A82B8F7AFBD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DF1516A0-18D2-491B-A1E9-E238E76C8F98}" type="pres">
      <dgm:prSet presAssocID="{EB4F773B-9948-4363-827D-5A82B8F7AFBD}" presName="negativeSpace" presStyleCnt="0"/>
      <dgm:spPr/>
    </dgm:pt>
    <dgm:pt modelId="{9889D5F0-C507-45C6-867B-C4FEFC0E0C1F}" type="pres">
      <dgm:prSet presAssocID="{EB4F773B-9948-4363-827D-5A82B8F7AFBD}" presName="childText" presStyleLbl="conFgAcc1" presStyleIdx="3" presStyleCnt="5">
        <dgm:presLayoutVars>
          <dgm:bulletEnabled val="1"/>
        </dgm:presLayoutVars>
      </dgm:prSet>
      <dgm:spPr/>
    </dgm:pt>
    <dgm:pt modelId="{8B6A8C77-9B98-4111-9C1B-11D5F5C2B315}" type="pres">
      <dgm:prSet presAssocID="{FE81F3DC-7FE5-4237-995C-9B7E81B10848}" presName="spaceBetweenRectangles" presStyleCnt="0"/>
      <dgm:spPr/>
    </dgm:pt>
    <dgm:pt modelId="{395B61F1-786C-4907-8995-7384C6BA9BF2}" type="pres">
      <dgm:prSet presAssocID="{56C73975-846B-4FA2-92B6-FBA461E7DE38}" presName="parentLin" presStyleCnt="0"/>
      <dgm:spPr/>
    </dgm:pt>
    <dgm:pt modelId="{64F71D87-6E6D-4D1D-B9FC-F01A83D2599A}" type="pres">
      <dgm:prSet presAssocID="{56C73975-846B-4FA2-92B6-FBA461E7DE38}" presName="parentLeftMargin" presStyleLbl="node1" presStyleIdx="3" presStyleCnt="5"/>
      <dgm:spPr/>
    </dgm:pt>
    <dgm:pt modelId="{49B5D219-0BD9-4F23-B550-82E1C0B9AE84}" type="pres">
      <dgm:prSet presAssocID="{56C73975-846B-4FA2-92B6-FBA461E7DE38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0E812E9F-F500-4861-A011-DD75A539A5B5}" type="pres">
      <dgm:prSet presAssocID="{56C73975-846B-4FA2-92B6-FBA461E7DE38}" presName="negativeSpace" presStyleCnt="0"/>
      <dgm:spPr/>
    </dgm:pt>
    <dgm:pt modelId="{073BD7DE-7897-462D-97A4-B897F8598B23}" type="pres">
      <dgm:prSet presAssocID="{56C73975-846B-4FA2-92B6-FBA461E7DE38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E7110801-F8AF-45E4-B39C-8DC26F21B944}" type="presOf" srcId="{C3E98D8B-307B-42A6-B3C3-CF76A9CAE734}" destId="{8C362E3B-3596-4B79-B294-5630024AD8A7}" srcOrd="0" destOrd="0" presId="urn:microsoft.com/office/officeart/2005/8/layout/list1"/>
    <dgm:cxn modelId="{A9C69502-50F0-4CE0-B79C-43C2CAEDE12C}" type="presOf" srcId="{EB4F773B-9948-4363-827D-5A82B8F7AFBD}" destId="{EAFFDFB6-DDBF-42C3-96A4-4A1B1DB06EFF}" srcOrd="0" destOrd="0" presId="urn:microsoft.com/office/officeart/2005/8/layout/list1"/>
    <dgm:cxn modelId="{F0E3F02D-B62D-46C6-9E2F-8B42B195E2C6}" type="presOf" srcId="{83211E97-43EA-4EE3-AB95-2607AD1E3E95}" destId="{4A306AB1-7B3F-455D-9F4D-D92B8F3B6F4C}" srcOrd="1" destOrd="0" presId="urn:microsoft.com/office/officeart/2005/8/layout/list1"/>
    <dgm:cxn modelId="{52C5323A-9ECE-4F4A-9D93-9D65FD427C66}" type="presOf" srcId="{D04DBC87-436D-4D7D-9DEE-D210AD5B272B}" destId="{D73E0EC0-A1D0-4122-A3BD-CE1D21404F28}" srcOrd="0" destOrd="0" presId="urn:microsoft.com/office/officeart/2005/8/layout/list1"/>
    <dgm:cxn modelId="{C3978C3C-AB4E-496D-9725-8BAB616DC0E3}" type="presOf" srcId="{56C73975-846B-4FA2-92B6-FBA461E7DE38}" destId="{64F71D87-6E6D-4D1D-B9FC-F01A83D2599A}" srcOrd="0" destOrd="0" presId="urn:microsoft.com/office/officeart/2005/8/layout/list1"/>
    <dgm:cxn modelId="{DBDDA043-0020-4EFF-9E4C-2ABC3A426171}" srcId="{0DFAE5B2-4F0C-4C47-96BE-BA00136F28AF}" destId="{56C73975-846B-4FA2-92B6-FBA461E7DE38}" srcOrd="4" destOrd="0" parTransId="{B0DF3008-2636-477F-8DF3-4E44481E3D44}" sibTransId="{5044A27C-A07F-4FF8-84CF-1184D5C063C6}"/>
    <dgm:cxn modelId="{3272DA69-4ADD-4AD6-8CEC-1FE005546CDE}" type="presOf" srcId="{EB4F773B-9948-4363-827D-5A82B8F7AFBD}" destId="{90B343FC-F41F-44FF-A865-C4E729746BE9}" srcOrd="1" destOrd="0" presId="urn:microsoft.com/office/officeart/2005/8/layout/list1"/>
    <dgm:cxn modelId="{532AFB7A-ABF7-4C1C-A8B2-D75D561322BC}" srcId="{0DFAE5B2-4F0C-4C47-96BE-BA00136F28AF}" destId="{EB4F773B-9948-4363-827D-5A82B8F7AFBD}" srcOrd="3" destOrd="0" parTransId="{5B393E27-7944-4FBE-A73A-3D6328AB746D}" sibTransId="{FE81F3DC-7FE5-4237-995C-9B7E81B10848}"/>
    <dgm:cxn modelId="{3A6FFF7F-4E16-4803-92E4-2C97B8642019}" type="presOf" srcId="{56C73975-846B-4FA2-92B6-FBA461E7DE38}" destId="{49B5D219-0BD9-4F23-B550-82E1C0B9AE84}" srcOrd="1" destOrd="0" presId="urn:microsoft.com/office/officeart/2005/8/layout/list1"/>
    <dgm:cxn modelId="{99199A93-7C64-43BE-9492-6C48D514DBFA}" type="presOf" srcId="{C3E98D8B-307B-42A6-B3C3-CF76A9CAE734}" destId="{81F19E55-D14B-4F60-8B93-E00D1A468737}" srcOrd="1" destOrd="0" presId="urn:microsoft.com/office/officeart/2005/8/layout/list1"/>
    <dgm:cxn modelId="{F370AEA6-92DE-4D51-8E6F-04939AE47F11}" type="presOf" srcId="{D04DBC87-436D-4D7D-9DEE-D210AD5B272B}" destId="{17F5CA52-FE53-4B02-B6A4-6BE31FEF806C}" srcOrd="1" destOrd="0" presId="urn:microsoft.com/office/officeart/2005/8/layout/list1"/>
    <dgm:cxn modelId="{CCF15AB0-F2AD-4ED6-A8F1-625E963316BE}" type="presOf" srcId="{83211E97-43EA-4EE3-AB95-2607AD1E3E95}" destId="{43A54E72-AE2F-44BC-BC71-BD7E25672340}" srcOrd="0" destOrd="0" presId="urn:microsoft.com/office/officeart/2005/8/layout/list1"/>
    <dgm:cxn modelId="{1C548FBF-D416-44AA-B163-7254F9A0B950}" type="presOf" srcId="{0DFAE5B2-4F0C-4C47-96BE-BA00136F28AF}" destId="{E36A7077-84AF-457C-8F6D-10924BADA1B6}" srcOrd="0" destOrd="0" presId="urn:microsoft.com/office/officeart/2005/8/layout/list1"/>
    <dgm:cxn modelId="{5399F0C0-D24F-4468-96A1-D42351AFAE5D}" srcId="{0DFAE5B2-4F0C-4C47-96BE-BA00136F28AF}" destId="{D04DBC87-436D-4D7D-9DEE-D210AD5B272B}" srcOrd="0" destOrd="0" parTransId="{BEF9033D-F0D2-41F2-824A-04D1D2445754}" sibTransId="{CE9E291B-6E91-464F-B724-B1BCB0CF0EB9}"/>
    <dgm:cxn modelId="{DC1B56CB-195C-4738-A307-83BBE911AA4D}" srcId="{0DFAE5B2-4F0C-4C47-96BE-BA00136F28AF}" destId="{C3E98D8B-307B-42A6-B3C3-CF76A9CAE734}" srcOrd="1" destOrd="0" parTransId="{C4721C57-2B05-45CA-A456-BFAE0A69FA33}" sibTransId="{5BD0E94F-F3D7-478B-99AC-E124E14E45B0}"/>
    <dgm:cxn modelId="{0E2B1AD9-68DC-431C-BB3A-EE6A4FB3DC2D}" srcId="{0DFAE5B2-4F0C-4C47-96BE-BA00136F28AF}" destId="{83211E97-43EA-4EE3-AB95-2607AD1E3E95}" srcOrd="2" destOrd="0" parTransId="{B12DD08E-F1A9-41A1-9FB8-482BD65983CC}" sibTransId="{649EBB4B-5C92-46F6-AA5E-76F80A0C0147}"/>
    <dgm:cxn modelId="{ADD33637-086A-4481-B46E-B35D179C2B94}" type="presParOf" srcId="{E36A7077-84AF-457C-8F6D-10924BADA1B6}" destId="{C1C6C162-5567-480A-A7A5-18B5FB586A44}" srcOrd="0" destOrd="0" presId="urn:microsoft.com/office/officeart/2005/8/layout/list1"/>
    <dgm:cxn modelId="{D7C69751-6CB8-4430-9223-0D0A10ECA1EC}" type="presParOf" srcId="{C1C6C162-5567-480A-A7A5-18B5FB586A44}" destId="{D73E0EC0-A1D0-4122-A3BD-CE1D21404F28}" srcOrd="0" destOrd="0" presId="urn:microsoft.com/office/officeart/2005/8/layout/list1"/>
    <dgm:cxn modelId="{CD7D62ED-CF8A-4988-8C7C-3B2CD9DBF38F}" type="presParOf" srcId="{C1C6C162-5567-480A-A7A5-18B5FB586A44}" destId="{17F5CA52-FE53-4B02-B6A4-6BE31FEF806C}" srcOrd="1" destOrd="0" presId="urn:microsoft.com/office/officeart/2005/8/layout/list1"/>
    <dgm:cxn modelId="{C32F7F52-FEE7-4A7B-8C9B-426064AF2153}" type="presParOf" srcId="{E36A7077-84AF-457C-8F6D-10924BADA1B6}" destId="{DA35F22A-F58F-473B-8A8C-4C4320A78ADC}" srcOrd="1" destOrd="0" presId="urn:microsoft.com/office/officeart/2005/8/layout/list1"/>
    <dgm:cxn modelId="{241AC523-6E99-4D9C-86EF-2A6D6BDCF340}" type="presParOf" srcId="{E36A7077-84AF-457C-8F6D-10924BADA1B6}" destId="{F98EEAE3-CC75-46BA-A7A5-A84819EC324F}" srcOrd="2" destOrd="0" presId="urn:microsoft.com/office/officeart/2005/8/layout/list1"/>
    <dgm:cxn modelId="{282A7556-0169-42B8-9F23-D7C77B24E27E}" type="presParOf" srcId="{E36A7077-84AF-457C-8F6D-10924BADA1B6}" destId="{86F497EB-8156-4E13-86E0-B3A0F16ACF1B}" srcOrd="3" destOrd="0" presId="urn:microsoft.com/office/officeart/2005/8/layout/list1"/>
    <dgm:cxn modelId="{7CE5898B-A4CE-4816-9F2E-D1239A814EDE}" type="presParOf" srcId="{E36A7077-84AF-457C-8F6D-10924BADA1B6}" destId="{2349DD91-941F-4BB5-BD15-13913D5491ED}" srcOrd="4" destOrd="0" presId="urn:microsoft.com/office/officeart/2005/8/layout/list1"/>
    <dgm:cxn modelId="{050BB6E9-A3BD-4EE6-912E-5DB8B38B6E53}" type="presParOf" srcId="{2349DD91-941F-4BB5-BD15-13913D5491ED}" destId="{8C362E3B-3596-4B79-B294-5630024AD8A7}" srcOrd="0" destOrd="0" presId="urn:microsoft.com/office/officeart/2005/8/layout/list1"/>
    <dgm:cxn modelId="{C90E44CC-B4B9-48CD-A86E-69EDC71D865D}" type="presParOf" srcId="{2349DD91-941F-4BB5-BD15-13913D5491ED}" destId="{81F19E55-D14B-4F60-8B93-E00D1A468737}" srcOrd="1" destOrd="0" presId="urn:microsoft.com/office/officeart/2005/8/layout/list1"/>
    <dgm:cxn modelId="{7F366793-3420-4027-B968-0495A5A382B9}" type="presParOf" srcId="{E36A7077-84AF-457C-8F6D-10924BADA1B6}" destId="{EF9BCB8F-C4CD-4EBE-9399-17885C61E60F}" srcOrd="5" destOrd="0" presId="urn:microsoft.com/office/officeart/2005/8/layout/list1"/>
    <dgm:cxn modelId="{CCF74BFF-918E-4098-A31C-5FF87D57E7FA}" type="presParOf" srcId="{E36A7077-84AF-457C-8F6D-10924BADA1B6}" destId="{D65BA056-698D-4638-9A51-B72B7CE1D339}" srcOrd="6" destOrd="0" presId="urn:microsoft.com/office/officeart/2005/8/layout/list1"/>
    <dgm:cxn modelId="{BA34372E-9F8A-4B77-AB1A-A7073ADCECC0}" type="presParOf" srcId="{E36A7077-84AF-457C-8F6D-10924BADA1B6}" destId="{D6E99F9D-C697-41E8-88E8-0CC4689EE4F7}" srcOrd="7" destOrd="0" presId="urn:microsoft.com/office/officeart/2005/8/layout/list1"/>
    <dgm:cxn modelId="{53DCF268-4CD8-469B-BB9A-6AF416F8F8C6}" type="presParOf" srcId="{E36A7077-84AF-457C-8F6D-10924BADA1B6}" destId="{F7A088B8-DABE-4127-A69E-E9915A08DE2C}" srcOrd="8" destOrd="0" presId="urn:microsoft.com/office/officeart/2005/8/layout/list1"/>
    <dgm:cxn modelId="{8C9A8DCB-BC0F-4631-9C2A-D1E5B6B3ABE9}" type="presParOf" srcId="{F7A088B8-DABE-4127-A69E-E9915A08DE2C}" destId="{43A54E72-AE2F-44BC-BC71-BD7E25672340}" srcOrd="0" destOrd="0" presId="urn:microsoft.com/office/officeart/2005/8/layout/list1"/>
    <dgm:cxn modelId="{C7E13E68-85CE-48D7-945F-4CEE6CCEF02C}" type="presParOf" srcId="{F7A088B8-DABE-4127-A69E-E9915A08DE2C}" destId="{4A306AB1-7B3F-455D-9F4D-D92B8F3B6F4C}" srcOrd="1" destOrd="0" presId="urn:microsoft.com/office/officeart/2005/8/layout/list1"/>
    <dgm:cxn modelId="{A5E89031-3E7F-4CAB-B446-3FC654AEA68E}" type="presParOf" srcId="{E36A7077-84AF-457C-8F6D-10924BADA1B6}" destId="{D1E0942F-8203-44A2-909F-A13141153688}" srcOrd="9" destOrd="0" presId="urn:microsoft.com/office/officeart/2005/8/layout/list1"/>
    <dgm:cxn modelId="{6B89DD11-B14B-4356-813E-2E7EE6276D64}" type="presParOf" srcId="{E36A7077-84AF-457C-8F6D-10924BADA1B6}" destId="{05AEC450-A1B7-4D99-A0C3-C2A5A43FC22F}" srcOrd="10" destOrd="0" presId="urn:microsoft.com/office/officeart/2005/8/layout/list1"/>
    <dgm:cxn modelId="{05D2A8AB-EFD1-48AD-A758-13996E55D5D5}" type="presParOf" srcId="{E36A7077-84AF-457C-8F6D-10924BADA1B6}" destId="{540E3953-F255-49EB-8042-F018E8836D62}" srcOrd="11" destOrd="0" presId="urn:microsoft.com/office/officeart/2005/8/layout/list1"/>
    <dgm:cxn modelId="{9592A71F-159E-4B78-B163-A2EB85A96C28}" type="presParOf" srcId="{E36A7077-84AF-457C-8F6D-10924BADA1B6}" destId="{52EC3256-B571-4509-8AB2-F064293A43F2}" srcOrd="12" destOrd="0" presId="urn:microsoft.com/office/officeart/2005/8/layout/list1"/>
    <dgm:cxn modelId="{5829926D-BF87-4BD4-BA43-F0E7DD724499}" type="presParOf" srcId="{52EC3256-B571-4509-8AB2-F064293A43F2}" destId="{EAFFDFB6-DDBF-42C3-96A4-4A1B1DB06EFF}" srcOrd="0" destOrd="0" presId="urn:microsoft.com/office/officeart/2005/8/layout/list1"/>
    <dgm:cxn modelId="{3FC2944D-0DA8-4668-9E9D-A6D49179836E}" type="presParOf" srcId="{52EC3256-B571-4509-8AB2-F064293A43F2}" destId="{90B343FC-F41F-44FF-A865-C4E729746BE9}" srcOrd="1" destOrd="0" presId="urn:microsoft.com/office/officeart/2005/8/layout/list1"/>
    <dgm:cxn modelId="{E9F03293-EAD3-44C7-9FB0-A879FB16873C}" type="presParOf" srcId="{E36A7077-84AF-457C-8F6D-10924BADA1B6}" destId="{DF1516A0-18D2-491B-A1E9-E238E76C8F98}" srcOrd="13" destOrd="0" presId="urn:microsoft.com/office/officeart/2005/8/layout/list1"/>
    <dgm:cxn modelId="{6D04C023-F105-4DAD-9F8F-EDF8E9E7EC02}" type="presParOf" srcId="{E36A7077-84AF-457C-8F6D-10924BADA1B6}" destId="{9889D5F0-C507-45C6-867B-C4FEFC0E0C1F}" srcOrd="14" destOrd="0" presId="urn:microsoft.com/office/officeart/2005/8/layout/list1"/>
    <dgm:cxn modelId="{5B2C12C3-460E-4635-BB12-83356274BCE4}" type="presParOf" srcId="{E36A7077-84AF-457C-8F6D-10924BADA1B6}" destId="{8B6A8C77-9B98-4111-9C1B-11D5F5C2B315}" srcOrd="15" destOrd="0" presId="urn:microsoft.com/office/officeart/2005/8/layout/list1"/>
    <dgm:cxn modelId="{1EB5F974-76D9-412F-9A0F-BC79807E3E97}" type="presParOf" srcId="{E36A7077-84AF-457C-8F6D-10924BADA1B6}" destId="{395B61F1-786C-4907-8995-7384C6BA9BF2}" srcOrd="16" destOrd="0" presId="urn:microsoft.com/office/officeart/2005/8/layout/list1"/>
    <dgm:cxn modelId="{DF09DF6A-D9C8-4FAF-8B33-8CEED73F0556}" type="presParOf" srcId="{395B61F1-786C-4907-8995-7384C6BA9BF2}" destId="{64F71D87-6E6D-4D1D-B9FC-F01A83D2599A}" srcOrd="0" destOrd="0" presId="urn:microsoft.com/office/officeart/2005/8/layout/list1"/>
    <dgm:cxn modelId="{A8983F44-4A82-447C-8FC6-9B5351024009}" type="presParOf" srcId="{395B61F1-786C-4907-8995-7384C6BA9BF2}" destId="{49B5D219-0BD9-4F23-B550-82E1C0B9AE84}" srcOrd="1" destOrd="0" presId="urn:microsoft.com/office/officeart/2005/8/layout/list1"/>
    <dgm:cxn modelId="{27BA4D7A-F668-4D3E-AA0F-2C63080A90BD}" type="presParOf" srcId="{E36A7077-84AF-457C-8F6D-10924BADA1B6}" destId="{0E812E9F-F500-4861-A011-DD75A539A5B5}" srcOrd="17" destOrd="0" presId="urn:microsoft.com/office/officeart/2005/8/layout/list1"/>
    <dgm:cxn modelId="{7E088F65-0AA9-4AFC-9DC7-D096DB4DE77E}" type="presParOf" srcId="{E36A7077-84AF-457C-8F6D-10924BADA1B6}" destId="{073BD7DE-7897-462D-97A4-B897F8598B23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87B1EAE-9C4D-429B-AC85-09B69423BF1E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90AE926E-98BC-477C-88D8-305D548A607D}">
      <dgm:prSet phldrT="[Text]" custT="1"/>
      <dgm:spPr/>
      <dgm:t>
        <a:bodyPr/>
        <a:lstStyle/>
        <a:p>
          <a:r>
            <a:rPr lang="en-US" sz="2800"/>
            <a:t>Highly Competitive</a:t>
          </a:r>
        </a:p>
      </dgm:t>
    </dgm:pt>
    <dgm:pt modelId="{77CD1EBA-E723-4EED-9EC5-4ABF67EF2371}" type="parTrans" cxnId="{CD553A61-00A2-4997-8624-F82D96828C7A}">
      <dgm:prSet/>
      <dgm:spPr/>
      <dgm:t>
        <a:bodyPr/>
        <a:lstStyle/>
        <a:p>
          <a:endParaRPr lang="en-US"/>
        </a:p>
      </dgm:t>
    </dgm:pt>
    <dgm:pt modelId="{24C1195F-E270-486F-A209-FBBB4E67F061}" type="sibTrans" cxnId="{CD553A61-00A2-4997-8624-F82D96828C7A}">
      <dgm:prSet/>
      <dgm:spPr/>
      <dgm:t>
        <a:bodyPr/>
        <a:lstStyle/>
        <a:p>
          <a:endParaRPr lang="en-US"/>
        </a:p>
      </dgm:t>
    </dgm:pt>
    <dgm:pt modelId="{A602FF39-5954-48BD-A0D7-DAFE21252F0C}">
      <dgm:prSet phldrT="[Text]" custT="1"/>
      <dgm:spPr/>
      <dgm:t>
        <a:bodyPr/>
        <a:lstStyle/>
        <a:p>
          <a:r>
            <a:rPr lang="en-US" sz="2400"/>
            <a:t>33* Funded; 36 Not Funded</a:t>
          </a:r>
        </a:p>
      </dgm:t>
    </dgm:pt>
    <dgm:pt modelId="{82BF4966-1CF1-4BFE-AA50-612E8BAC2C4E}" type="parTrans" cxnId="{C604E901-DBB5-4E5D-BDC5-989E869DD036}">
      <dgm:prSet/>
      <dgm:spPr/>
      <dgm:t>
        <a:bodyPr/>
        <a:lstStyle/>
        <a:p>
          <a:endParaRPr lang="en-US"/>
        </a:p>
      </dgm:t>
    </dgm:pt>
    <dgm:pt modelId="{B8962EEA-8130-4EA4-B08C-9B640071EB97}" type="sibTrans" cxnId="{C604E901-DBB5-4E5D-BDC5-989E869DD036}">
      <dgm:prSet/>
      <dgm:spPr/>
      <dgm:t>
        <a:bodyPr/>
        <a:lstStyle/>
        <a:p>
          <a:endParaRPr lang="en-US"/>
        </a:p>
      </dgm:t>
    </dgm:pt>
    <dgm:pt modelId="{B75466BA-B46C-4501-BC83-380EE338C95F}">
      <dgm:prSet phldrT="[Text]"/>
      <dgm:spPr/>
      <dgm:t>
        <a:bodyPr/>
        <a:lstStyle/>
        <a:p>
          <a:pPr algn="l"/>
          <a:r>
            <a:rPr lang="en-US"/>
            <a:t>3 – ELT</a:t>
          </a:r>
        </a:p>
        <a:p>
          <a:pPr algn="l"/>
          <a:r>
            <a:rPr lang="en-US"/>
            <a:t>4 – Recruitment and Retention</a:t>
          </a:r>
        </a:p>
        <a:p>
          <a:pPr algn="l"/>
          <a:r>
            <a:rPr lang="en-US"/>
            <a:t>16- Co-Teaching and Inclusion</a:t>
          </a:r>
        </a:p>
        <a:p>
          <a:pPr algn="l"/>
          <a:r>
            <a:rPr lang="en-US"/>
            <a:t>10 (13)* – Early Literacy</a:t>
          </a:r>
        </a:p>
      </dgm:t>
    </dgm:pt>
    <dgm:pt modelId="{49973EE4-7C3E-4CC1-8CA8-E067FB9F84A0}" type="parTrans" cxnId="{92A478AD-21D6-4ADB-B420-E255AB156D98}">
      <dgm:prSet/>
      <dgm:spPr/>
      <dgm:t>
        <a:bodyPr/>
        <a:lstStyle/>
        <a:p>
          <a:endParaRPr lang="en-US"/>
        </a:p>
      </dgm:t>
    </dgm:pt>
    <dgm:pt modelId="{ED4214D5-7B39-45B0-A7C8-A706431D6B24}" type="sibTrans" cxnId="{92A478AD-21D6-4ADB-B420-E255AB156D98}">
      <dgm:prSet/>
      <dgm:spPr/>
      <dgm:t>
        <a:bodyPr/>
        <a:lstStyle/>
        <a:p>
          <a:endParaRPr lang="en-US"/>
        </a:p>
      </dgm:t>
    </dgm:pt>
    <dgm:pt modelId="{BDDC2068-9C64-4659-BDFD-CF370ED5B6F1}" type="pres">
      <dgm:prSet presAssocID="{187B1EAE-9C4D-429B-AC85-09B69423BF1E}" presName="linearFlow" presStyleCnt="0">
        <dgm:presLayoutVars>
          <dgm:dir/>
          <dgm:resizeHandles val="exact"/>
        </dgm:presLayoutVars>
      </dgm:prSet>
      <dgm:spPr/>
    </dgm:pt>
    <dgm:pt modelId="{E3CF94F1-8C08-4A9D-A726-89739FD8B476}" type="pres">
      <dgm:prSet presAssocID="{90AE926E-98BC-477C-88D8-305D548A607D}" presName="composite" presStyleCnt="0"/>
      <dgm:spPr/>
    </dgm:pt>
    <dgm:pt modelId="{683D3E45-20D5-4EEC-B39E-73935099BE5F}" type="pres">
      <dgm:prSet presAssocID="{90AE926E-98BC-477C-88D8-305D548A607D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</dgm:spPr>
    </dgm:pt>
    <dgm:pt modelId="{F4E08260-3B89-4666-B7F8-465A8F576CDB}" type="pres">
      <dgm:prSet presAssocID="{90AE926E-98BC-477C-88D8-305D548A607D}" presName="txShp" presStyleLbl="node1" presStyleIdx="0" presStyleCnt="3">
        <dgm:presLayoutVars>
          <dgm:bulletEnabled val="1"/>
        </dgm:presLayoutVars>
      </dgm:prSet>
      <dgm:spPr/>
    </dgm:pt>
    <dgm:pt modelId="{B3216A28-013C-4448-AF9E-FE58C3359AD6}" type="pres">
      <dgm:prSet presAssocID="{24C1195F-E270-486F-A209-FBBB4E67F061}" presName="spacing" presStyleCnt="0"/>
      <dgm:spPr/>
    </dgm:pt>
    <dgm:pt modelId="{5FEC3776-37C6-46FE-A9DC-14564CCE5B66}" type="pres">
      <dgm:prSet presAssocID="{A602FF39-5954-48BD-A0D7-DAFE21252F0C}" presName="composite" presStyleCnt="0"/>
      <dgm:spPr/>
    </dgm:pt>
    <dgm:pt modelId="{7326D861-CAAA-4E98-8051-180FAC92145C}" type="pres">
      <dgm:prSet presAssocID="{A602FF39-5954-48BD-A0D7-DAFE21252F0C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/>
          </a:stretch>
        </a:blipFill>
      </dgm:spPr>
    </dgm:pt>
    <dgm:pt modelId="{09B50F17-61A1-4897-B41C-CC4FDB3DC649}" type="pres">
      <dgm:prSet presAssocID="{A602FF39-5954-48BD-A0D7-DAFE21252F0C}" presName="txShp" presStyleLbl="node1" presStyleIdx="1" presStyleCnt="3">
        <dgm:presLayoutVars>
          <dgm:bulletEnabled val="1"/>
        </dgm:presLayoutVars>
      </dgm:prSet>
      <dgm:spPr/>
    </dgm:pt>
    <dgm:pt modelId="{ED3E07E6-CFF0-41D4-90ED-311753FC86A7}" type="pres">
      <dgm:prSet presAssocID="{B8962EEA-8130-4EA4-B08C-9B640071EB97}" presName="spacing" presStyleCnt="0"/>
      <dgm:spPr/>
    </dgm:pt>
    <dgm:pt modelId="{459613D0-B4AA-4E0E-BAB3-35DEEF1201CF}" type="pres">
      <dgm:prSet presAssocID="{B75466BA-B46C-4501-BC83-380EE338C95F}" presName="composite" presStyleCnt="0"/>
      <dgm:spPr/>
    </dgm:pt>
    <dgm:pt modelId="{730D7710-36DB-485F-8374-AA424990BFEF}" type="pres">
      <dgm:prSet presAssocID="{B75466BA-B46C-4501-BC83-380EE338C95F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25000" r="-25000"/>
          </a:stretch>
        </a:blipFill>
      </dgm:spPr>
    </dgm:pt>
    <dgm:pt modelId="{83DBE8D7-2253-4087-9412-9DA1B56606DA}" type="pres">
      <dgm:prSet presAssocID="{B75466BA-B46C-4501-BC83-380EE338C95F}" presName="txShp" presStyleLbl="node1" presStyleIdx="2" presStyleCnt="3">
        <dgm:presLayoutVars>
          <dgm:bulletEnabled val="1"/>
        </dgm:presLayoutVars>
      </dgm:prSet>
      <dgm:spPr/>
    </dgm:pt>
  </dgm:ptLst>
  <dgm:cxnLst>
    <dgm:cxn modelId="{C604E901-DBB5-4E5D-BDC5-989E869DD036}" srcId="{187B1EAE-9C4D-429B-AC85-09B69423BF1E}" destId="{A602FF39-5954-48BD-A0D7-DAFE21252F0C}" srcOrd="1" destOrd="0" parTransId="{82BF4966-1CF1-4BFE-AA50-612E8BAC2C4E}" sibTransId="{B8962EEA-8130-4EA4-B08C-9B640071EB97}"/>
    <dgm:cxn modelId="{F1430204-E8A9-4C26-8542-5517A42921E7}" type="presOf" srcId="{187B1EAE-9C4D-429B-AC85-09B69423BF1E}" destId="{BDDC2068-9C64-4659-BDFD-CF370ED5B6F1}" srcOrd="0" destOrd="0" presId="urn:microsoft.com/office/officeart/2005/8/layout/vList3"/>
    <dgm:cxn modelId="{CD553A61-00A2-4997-8624-F82D96828C7A}" srcId="{187B1EAE-9C4D-429B-AC85-09B69423BF1E}" destId="{90AE926E-98BC-477C-88D8-305D548A607D}" srcOrd="0" destOrd="0" parTransId="{77CD1EBA-E723-4EED-9EC5-4ABF67EF2371}" sibTransId="{24C1195F-E270-486F-A209-FBBB4E67F061}"/>
    <dgm:cxn modelId="{7BA9F069-B8D2-4406-BE6A-B552A095D24B}" type="presOf" srcId="{90AE926E-98BC-477C-88D8-305D548A607D}" destId="{F4E08260-3B89-4666-B7F8-465A8F576CDB}" srcOrd="0" destOrd="0" presId="urn:microsoft.com/office/officeart/2005/8/layout/vList3"/>
    <dgm:cxn modelId="{92A478AD-21D6-4ADB-B420-E255AB156D98}" srcId="{187B1EAE-9C4D-429B-AC85-09B69423BF1E}" destId="{B75466BA-B46C-4501-BC83-380EE338C95F}" srcOrd="2" destOrd="0" parTransId="{49973EE4-7C3E-4CC1-8CA8-E067FB9F84A0}" sibTransId="{ED4214D5-7B39-45B0-A7C8-A706431D6B24}"/>
    <dgm:cxn modelId="{C14394D3-E0AB-4EE0-9B6F-A4886B362E6E}" type="presOf" srcId="{A602FF39-5954-48BD-A0D7-DAFE21252F0C}" destId="{09B50F17-61A1-4897-B41C-CC4FDB3DC649}" srcOrd="0" destOrd="0" presId="urn:microsoft.com/office/officeart/2005/8/layout/vList3"/>
    <dgm:cxn modelId="{04581CFB-295B-4396-8783-7C975701AAFF}" type="presOf" srcId="{B75466BA-B46C-4501-BC83-380EE338C95F}" destId="{83DBE8D7-2253-4087-9412-9DA1B56606DA}" srcOrd="0" destOrd="0" presId="urn:microsoft.com/office/officeart/2005/8/layout/vList3"/>
    <dgm:cxn modelId="{5B7B7C62-C08C-4C2E-B4EA-A5501C901048}" type="presParOf" srcId="{BDDC2068-9C64-4659-BDFD-CF370ED5B6F1}" destId="{E3CF94F1-8C08-4A9D-A726-89739FD8B476}" srcOrd="0" destOrd="0" presId="urn:microsoft.com/office/officeart/2005/8/layout/vList3"/>
    <dgm:cxn modelId="{08828CBF-F4AA-4E42-8A92-E7CBE8BB54A1}" type="presParOf" srcId="{E3CF94F1-8C08-4A9D-A726-89739FD8B476}" destId="{683D3E45-20D5-4EEC-B39E-73935099BE5F}" srcOrd="0" destOrd="0" presId="urn:microsoft.com/office/officeart/2005/8/layout/vList3"/>
    <dgm:cxn modelId="{97B747D4-4A0F-494F-9F26-C0795F13519A}" type="presParOf" srcId="{E3CF94F1-8C08-4A9D-A726-89739FD8B476}" destId="{F4E08260-3B89-4666-B7F8-465A8F576CDB}" srcOrd="1" destOrd="0" presId="urn:microsoft.com/office/officeart/2005/8/layout/vList3"/>
    <dgm:cxn modelId="{6E9922AC-4169-4D6F-AAEE-81883993D801}" type="presParOf" srcId="{BDDC2068-9C64-4659-BDFD-CF370ED5B6F1}" destId="{B3216A28-013C-4448-AF9E-FE58C3359AD6}" srcOrd="1" destOrd="0" presId="urn:microsoft.com/office/officeart/2005/8/layout/vList3"/>
    <dgm:cxn modelId="{1162C968-8B44-4FE8-B912-34319052107A}" type="presParOf" srcId="{BDDC2068-9C64-4659-BDFD-CF370ED5B6F1}" destId="{5FEC3776-37C6-46FE-A9DC-14564CCE5B66}" srcOrd="2" destOrd="0" presId="urn:microsoft.com/office/officeart/2005/8/layout/vList3"/>
    <dgm:cxn modelId="{83E4BBB4-B508-4174-94D6-F329A4E6D38D}" type="presParOf" srcId="{5FEC3776-37C6-46FE-A9DC-14564CCE5B66}" destId="{7326D861-CAAA-4E98-8051-180FAC92145C}" srcOrd="0" destOrd="0" presId="urn:microsoft.com/office/officeart/2005/8/layout/vList3"/>
    <dgm:cxn modelId="{F33FB44E-DDEB-44F6-ABC8-7D74A220BC85}" type="presParOf" srcId="{5FEC3776-37C6-46FE-A9DC-14564CCE5B66}" destId="{09B50F17-61A1-4897-B41C-CC4FDB3DC649}" srcOrd="1" destOrd="0" presId="urn:microsoft.com/office/officeart/2005/8/layout/vList3"/>
    <dgm:cxn modelId="{383EF3AD-4BA1-4A5C-8D17-FCEFBC28F75F}" type="presParOf" srcId="{BDDC2068-9C64-4659-BDFD-CF370ED5B6F1}" destId="{ED3E07E6-CFF0-41D4-90ED-311753FC86A7}" srcOrd="3" destOrd="0" presId="urn:microsoft.com/office/officeart/2005/8/layout/vList3"/>
    <dgm:cxn modelId="{3F99D317-CC79-499A-AAC5-33038D2EC7B3}" type="presParOf" srcId="{BDDC2068-9C64-4659-BDFD-CF370ED5B6F1}" destId="{459613D0-B4AA-4E0E-BAB3-35DEEF1201CF}" srcOrd="4" destOrd="0" presId="urn:microsoft.com/office/officeart/2005/8/layout/vList3"/>
    <dgm:cxn modelId="{3E4884AD-E7C5-4C0F-B181-B230106982E7}" type="presParOf" srcId="{459613D0-B4AA-4E0E-BAB3-35DEEF1201CF}" destId="{730D7710-36DB-485F-8374-AA424990BFEF}" srcOrd="0" destOrd="0" presId="urn:microsoft.com/office/officeart/2005/8/layout/vList3"/>
    <dgm:cxn modelId="{A55F7B28-F2CC-475D-A92F-868D7B29F13F}" type="presParOf" srcId="{459613D0-B4AA-4E0E-BAB3-35DEEF1201CF}" destId="{83DBE8D7-2253-4087-9412-9DA1B56606DA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F7C1C8-16E1-4459-A5D5-A89EF950E70A}" type="doc">
      <dgm:prSet loTypeId="urn:microsoft.com/office/officeart/2005/8/layout/vProcess5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566D367-100F-4FC6-8AD6-748C7446F5DB}">
      <dgm:prSet custT="1"/>
      <dgm:spPr/>
      <dgm:t>
        <a:bodyPr/>
        <a:lstStyle/>
        <a:p>
          <a:r>
            <a:rPr lang="en-US" sz="2400" dirty="0">
              <a:solidFill>
                <a:schemeClr val="tx1">
                  <a:lumMod val="85000"/>
                  <a:lumOff val="15000"/>
                </a:schemeClr>
              </a:solidFill>
            </a:rPr>
            <a:t>Pursuant to the </a:t>
          </a:r>
          <a:r>
            <a:rPr lang="en-US" sz="2400" dirty="0">
              <a:solidFill>
                <a:schemeClr val="tx1">
                  <a:lumMod val="85000"/>
                  <a:lumOff val="15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Student Opportunity Act</a:t>
          </a:r>
          <a:r>
            <a:rPr lang="en-US" sz="2400" dirty="0">
              <a:solidFill>
                <a:schemeClr val="tx1">
                  <a:lumMod val="85000"/>
                  <a:lumOff val="15000"/>
                </a:schemeClr>
              </a:solidFill>
            </a:rPr>
            <a:t> (SL c. 132, s 16d):</a:t>
          </a:r>
        </a:p>
      </dgm:t>
    </dgm:pt>
    <dgm:pt modelId="{4831DF2A-825D-4A71-AF83-CB96C3F8ABC8}" type="parTrans" cxnId="{E063198B-5A5F-4A04-9E6B-6FB8487A7262}">
      <dgm:prSet/>
      <dgm:spPr/>
      <dgm:t>
        <a:bodyPr/>
        <a:lstStyle/>
        <a:p>
          <a:endParaRPr lang="en-US"/>
        </a:p>
      </dgm:t>
    </dgm:pt>
    <dgm:pt modelId="{C8D130F9-BA96-4241-AE58-13823F916206}" type="sibTrans" cxnId="{E063198B-5A5F-4A04-9E6B-6FB8487A7262}">
      <dgm:prSet/>
      <dgm:spPr/>
      <dgm:t>
        <a:bodyPr/>
        <a:lstStyle/>
        <a:p>
          <a:endParaRPr lang="en-US"/>
        </a:p>
      </dgm:t>
    </dgm:pt>
    <dgm:pt modelId="{051AA07C-6217-4C08-9995-508C50C26964}">
      <dgm:prSet custT="1"/>
      <dgm:spPr/>
      <dgm:t>
        <a:bodyPr/>
        <a:lstStyle/>
        <a:p>
          <a:r>
            <a:rPr lang="en-US" sz="2000" b="0" i="1" dirty="0">
              <a:solidFill>
                <a:schemeClr val="tx1">
                  <a:lumMod val="85000"/>
                  <a:lumOff val="15000"/>
                </a:schemeClr>
              </a:solidFill>
            </a:rPr>
            <a:t>All grant applications shall include: (</a:t>
          </a:r>
          <a:r>
            <a:rPr lang="en-US" sz="2000" b="0" i="1" dirty="0" err="1">
              <a:solidFill>
                <a:schemeClr val="tx1">
                  <a:lumMod val="85000"/>
                  <a:lumOff val="15000"/>
                </a:schemeClr>
              </a:solidFill>
            </a:rPr>
            <a:t>i</a:t>
          </a:r>
          <a:r>
            <a:rPr lang="en-US" sz="2000" b="0" i="1" dirty="0">
              <a:solidFill>
                <a:schemeClr val="tx1">
                  <a:lumMod val="85000"/>
                  <a:lumOff val="15000"/>
                </a:schemeClr>
              </a:solidFill>
            </a:rPr>
            <a:t>) </a:t>
          </a:r>
          <a:r>
            <a:rPr lang="en-US" sz="2000" b="1" i="1" dirty="0">
              <a:solidFill>
                <a:schemeClr val="tx1">
                  <a:lumMod val="85000"/>
                  <a:lumOff val="15000"/>
                </a:schemeClr>
              </a:solidFill>
            </a:rPr>
            <a:t>an evaluation plan, including identification of the researcher or organization responsible for ongoing evaluation; (ii) a statement of the expected impact; </a:t>
          </a:r>
          <a:r>
            <a:rPr lang="en-US" sz="2000" b="0" i="1" dirty="0">
              <a:solidFill>
                <a:schemeClr val="tx1">
                  <a:lumMod val="85000"/>
                  <a:lumOff val="15000"/>
                </a:schemeClr>
              </a:solidFill>
            </a:rPr>
            <a:t>(iii) a preliminary estimate of the cost of the intervention; (iv) identification of a comparison group for the purpose of assessing effectiveness; and (v) a mechanism for determining how the proposal may be effectively replicated.</a:t>
          </a:r>
          <a:endParaRPr lang="en-US" sz="2000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8DA06D2C-94C6-4F44-97B0-BBD2C82CFAB4}" type="parTrans" cxnId="{235472C0-556E-489B-B3B7-09B7DF8AFFE7}">
      <dgm:prSet/>
      <dgm:spPr/>
      <dgm:t>
        <a:bodyPr/>
        <a:lstStyle/>
        <a:p>
          <a:endParaRPr lang="en-US"/>
        </a:p>
      </dgm:t>
    </dgm:pt>
    <dgm:pt modelId="{27F3F90E-D79C-4025-AEF5-11D2F689E0BC}" type="sibTrans" cxnId="{235472C0-556E-489B-B3B7-09B7DF8AFFE7}">
      <dgm:prSet/>
      <dgm:spPr/>
      <dgm:t>
        <a:bodyPr/>
        <a:lstStyle/>
        <a:p>
          <a:endParaRPr lang="en-US"/>
        </a:p>
      </dgm:t>
    </dgm:pt>
    <dgm:pt modelId="{235B3F92-0B85-4719-8BCF-7049C0DE76DD}" type="pres">
      <dgm:prSet presAssocID="{BBF7C1C8-16E1-4459-A5D5-A89EF950E70A}" presName="outerComposite" presStyleCnt="0">
        <dgm:presLayoutVars>
          <dgm:chMax val="5"/>
          <dgm:dir/>
          <dgm:resizeHandles val="exact"/>
        </dgm:presLayoutVars>
      </dgm:prSet>
      <dgm:spPr/>
    </dgm:pt>
    <dgm:pt modelId="{9B402D70-9EDA-40EE-A857-E66C96F941A2}" type="pres">
      <dgm:prSet presAssocID="{BBF7C1C8-16E1-4459-A5D5-A89EF950E70A}" presName="dummyMaxCanvas" presStyleCnt="0">
        <dgm:presLayoutVars/>
      </dgm:prSet>
      <dgm:spPr/>
    </dgm:pt>
    <dgm:pt modelId="{7D8B46A6-784A-41C0-A6A3-773562884770}" type="pres">
      <dgm:prSet presAssocID="{BBF7C1C8-16E1-4459-A5D5-A89EF950E70A}" presName="TwoNodes_1" presStyleLbl="node1" presStyleIdx="0" presStyleCnt="2">
        <dgm:presLayoutVars>
          <dgm:bulletEnabled val="1"/>
        </dgm:presLayoutVars>
      </dgm:prSet>
      <dgm:spPr/>
    </dgm:pt>
    <dgm:pt modelId="{2A088A98-6E06-4810-B920-F1D3A30B486E}" type="pres">
      <dgm:prSet presAssocID="{BBF7C1C8-16E1-4459-A5D5-A89EF950E70A}" presName="TwoNodes_2" presStyleLbl="node1" presStyleIdx="1" presStyleCnt="2" custScaleX="107381" custScaleY="136339">
        <dgm:presLayoutVars>
          <dgm:bulletEnabled val="1"/>
        </dgm:presLayoutVars>
      </dgm:prSet>
      <dgm:spPr/>
    </dgm:pt>
    <dgm:pt modelId="{0F59433F-1A01-451F-A74D-9B1DACA36D71}" type="pres">
      <dgm:prSet presAssocID="{BBF7C1C8-16E1-4459-A5D5-A89EF950E70A}" presName="TwoConn_1-2" presStyleLbl="fgAccFollowNode1" presStyleIdx="0" presStyleCnt="1">
        <dgm:presLayoutVars>
          <dgm:bulletEnabled val="1"/>
        </dgm:presLayoutVars>
      </dgm:prSet>
      <dgm:spPr/>
    </dgm:pt>
    <dgm:pt modelId="{E2039C4A-57BB-4FF9-ADA7-81A37036C61E}" type="pres">
      <dgm:prSet presAssocID="{BBF7C1C8-16E1-4459-A5D5-A89EF950E70A}" presName="TwoNodes_1_text" presStyleLbl="node1" presStyleIdx="1" presStyleCnt="2">
        <dgm:presLayoutVars>
          <dgm:bulletEnabled val="1"/>
        </dgm:presLayoutVars>
      </dgm:prSet>
      <dgm:spPr/>
    </dgm:pt>
    <dgm:pt modelId="{DF0AC371-D919-4199-BA21-90B341E40164}" type="pres">
      <dgm:prSet presAssocID="{BBF7C1C8-16E1-4459-A5D5-A89EF950E70A}" presName="TwoNodes_2_text" presStyleLbl="node1" presStyleIdx="1" presStyleCnt="2">
        <dgm:presLayoutVars>
          <dgm:bulletEnabled val="1"/>
        </dgm:presLayoutVars>
      </dgm:prSet>
      <dgm:spPr/>
    </dgm:pt>
  </dgm:ptLst>
  <dgm:cxnLst>
    <dgm:cxn modelId="{43127B0F-59FC-42BE-BDAC-414E618A6147}" type="presOf" srcId="{C8D130F9-BA96-4241-AE58-13823F916206}" destId="{0F59433F-1A01-451F-A74D-9B1DACA36D71}" srcOrd="0" destOrd="0" presId="urn:microsoft.com/office/officeart/2005/8/layout/vProcess5"/>
    <dgm:cxn modelId="{17DE7812-1B91-46A2-A47A-581931293358}" type="presOf" srcId="{051AA07C-6217-4C08-9995-508C50C26964}" destId="{DF0AC371-D919-4199-BA21-90B341E40164}" srcOrd="1" destOrd="0" presId="urn:microsoft.com/office/officeart/2005/8/layout/vProcess5"/>
    <dgm:cxn modelId="{CA41686F-C8BE-4F65-A5F7-3BDF7F961C51}" type="presOf" srcId="{B566D367-100F-4FC6-8AD6-748C7446F5DB}" destId="{7D8B46A6-784A-41C0-A6A3-773562884770}" srcOrd="0" destOrd="0" presId="urn:microsoft.com/office/officeart/2005/8/layout/vProcess5"/>
    <dgm:cxn modelId="{E063198B-5A5F-4A04-9E6B-6FB8487A7262}" srcId="{BBF7C1C8-16E1-4459-A5D5-A89EF950E70A}" destId="{B566D367-100F-4FC6-8AD6-748C7446F5DB}" srcOrd="0" destOrd="0" parTransId="{4831DF2A-825D-4A71-AF83-CB96C3F8ABC8}" sibTransId="{C8D130F9-BA96-4241-AE58-13823F916206}"/>
    <dgm:cxn modelId="{94A323AC-E89F-4273-954A-98F0CD755CD1}" type="presOf" srcId="{051AA07C-6217-4C08-9995-508C50C26964}" destId="{2A088A98-6E06-4810-B920-F1D3A30B486E}" srcOrd="0" destOrd="0" presId="urn:microsoft.com/office/officeart/2005/8/layout/vProcess5"/>
    <dgm:cxn modelId="{235472C0-556E-489B-B3B7-09B7DF8AFFE7}" srcId="{BBF7C1C8-16E1-4459-A5D5-A89EF950E70A}" destId="{051AA07C-6217-4C08-9995-508C50C26964}" srcOrd="1" destOrd="0" parTransId="{8DA06D2C-94C6-4F44-97B0-BBD2C82CFAB4}" sibTransId="{27F3F90E-D79C-4025-AEF5-11D2F689E0BC}"/>
    <dgm:cxn modelId="{C129AFE1-4B89-407C-BA10-0A4D5B11828C}" type="presOf" srcId="{B566D367-100F-4FC6-8AD6-748C7446F5DB}" destId="{E2039C4A-57BB-4FF9-ADA7-81A37036C61E}" srcOrd="1" destOrd="0" presId="urn:microsoft.com/office/officeart/2005/8/layout/vProcess5"/>
    <dgm:cxn modelId="{EAD796EA-4633-4206-9578-C7B97F21A380}" type="presOf" srcId="{BBF7C1C8-16E1-4459-A5D5-A89EF950E70A}" destId="{235B3F92-0B85-4719-8BCF-7049C0DE76DD}" srcOrd="0" destOrd="0" presId="urn:microsoft.com/office/officeart/2005/8/layout/vProcess5"/>
    <dgm:cxn modelId="{BBCFE5D3-EF39-494A-85E2-147ED1D5CB01}" type="presParOf" srcId="{235B3F92-0B85-4719-8BCF-7049C0DE76DD}" destId="{9B402D70-9EDA-40EE-A857-E66C96F941A2}" srcOrd="0" destOrd="0" presId="urn:microsoft.com/office/officeart/2005/8/layout/vProcess5"/>
    <dgm:cxn modelId="{2578B9D3-109F-4FE0-A141-ABAB01669746}" type="presParOf" srcId="{235B3F92-0B85-4719-8BCF-7049C0DE76DD}" destId="{7D8B46A6-784A-41C0-A6A3-773562884770}" srcOrd="1" destOrd="0" presId="urn:microsoft.com/office/officeart/2005/8/layout/vProcess5"/>
    <dgm:cxn modelId="{5799DA48-1680-4A77-A888-D6A35B83B0B8}" type="presParOf" srcId="{235B3F92-0B85-4719-8BCF-7049C0DE76DD}" destId="{2A088A98-6E06-4810-B920-F1D3A30B486E}" srcOrd="2" destOrd="0" presId="urn:microsoft.com/office/officeart/2005/8/layout/vProcess5"/>
    <dgm:cxn modelId="{5284367D-956D-47BD-B3B2-F924B6E5A502}" type="presParOf" srcId="{235B3F92-0B85-4719-8BCF-7049C0DE76DD}" destId="{0F59433F-1A01-451F-A74D-9B1DACA36D71}" srcOrd="3" destOrd="0" presId="urn:microsoft.com/office/officeart/2005/8/layout/vProcess5"/>
    <dgm:cxn modelId="{3C25C382-34F1-4512-B5BB-3F036F22F68A}" type="presParOf" srcId="{235B3F92-0B85-4719-8BCF-7049C0DE76DD}" destId="{E2039C4A-57BB-4FF9-ADA7-81A37036C61E}" srcOrd="4" destOrd="0" presId="urn:microsoft.com/office/officeart/2005/8/layout/vProcess5"/>
    <dgm:cxn modelId="{79844A85-DE37-40E5-9C32-131109756B7A}" type="presParOf" srcId="{235B3F92-0B85-4719-8BCF-7049C0DE76DD}" destId="{DF0AC371-D919-4199-BA21-90B341E40164}" srcOrd="5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8EEAE3-CC75-46BA-A7A5-A84819EC324F}">
      <dsp:nvSpPr>
        <dsp:cNvPr id="0" name=""/>
        <dsp:cNvSpPr/>
      </dsp:nvSpPr>
      <dsp:spPr>
        <a:xfrm>
          <a:off x="0" y="904100"/>
          <a:ext cx="6666833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F5CA52-FE53-4B02-B6A4-6BE31FEF806C}">
      <dsp:nvSpPr>
        <dsp:cNvPr id="0" name=""/>
        <dsp:cNvSpPr/>
      </dsp:nvSpPr>
      <dsp:spPr>
        <a:xfrm>
          <a:off x="333341" y="623660"/>
          <a:ext cx="4666783" cy="5608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Roles &amp; Responsibilities – Shared Goal</a:t>
          </a:r>
        </a:p>
      </dsp:txBody>
      <dsp:txXfrm>
        <a:off x="360721" y="651040"/>
        <a:ext cx="4612023" cy="506120"/>
      </dsp:txXfrm>
    </dsp:sp>
    <dsp:sp modelId="{D65BA056-698D-4638-9A51-B72B7CE1D339}">
      <dsp:nvSpPr>
        <dsp:cNvPr id="0" name=""/>
        <dsp:cNvSpPr/>
      </dsp:nvSpPr>
      <dsp:spPr>
        <a:xfrm>
          <a:off x="0" y="1765940"/>
          <a:ext cx="6666833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F19E55-D14B-4F60-8B93-E00D1A468737}">
      <dsp:nvSpPr>
        <dsp:cNvPr id="0" name=""/>
        <dsp:cNvSpPr/>
      </dsp:nvSpPr>
      <dsp:spPr>
        <a:xfrm>
          <a:off x="333341" y="1485500"/>
          <a:ext cx="4666783" cy="5608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District SOA Updates</a:t>
          </a:r>
        </a:p>
      </dsp:txBody>
      <dsp:txXfrm>
        <a:off x="360721" y="1512880"/>
        <a:ext cx="4612023" cy="506120"/>
      </dsp:txXfrm>
    </dsp:sp>
    <dsp:sp modelId="{05AEC450-A1B7-4D99-A0C3-C2A5A43FC22F}">
      <dsp:nvSpPr>
        <dsp:cNvPr id="0" name=""/>
        <dsp:cNvSpPr/>
      </dsp:nvSpPr>
      <dsp:spPr>
        <a:xfrm>
          <a:off x="0" y="2627780"/>
          <a:ext cx="6666833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306AB1-7B3F-455D-9F4D-D92B8F3B6F4C}">
      <dsp:nvSpPr>
        <dsp:cNvPr id="0" name=""/>
        <dsp:cNvSpPr/>
      </dsp:nvSpPr>
      <dsp:spPr>
        <a:xfrm>
          <a:off x="333341" y="2347340"/>
          <a:ext cx="4666783" cy="5608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Updates on Evidence-Based Practice Grant</a:t>
          </a:r>
        </a:p>
      </dsp:txBody>
      <dsp:txXfrm>
        <a:off x="360721" y="2374720"/>
        <a:ext cx="4612023" cy="506120"/>
      </dsp:txXfrm>
    </dsp:sp>
    <dsp:sp modelId="{9889D5F0-C507-45C6-867B-C4FEFC0E0C1F}">
      <dsp:nvSpPr>
        <dsp:cNvPr id="0" name=""/>
        <dsp:cNvSpPr/>
      </dsp:nvSpPr>
      <dsp:spPr>
        <a:xfrm>
          <a:off x="0" y="3489620"/>
          <a:ext cx="6666833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B343FC-F41F-44FF-A865-C4E729746BE9}">
      <dsp:nvSpPr>
        <dsp:cNvPr id="0" name=""/>
        <dsp:cNvSpPr/>
      </dsp:nvSpPr>
      <dsp:spPr>
        <a:xfrm>
          <a:off x="333341" y="3209180"/>
          <a:ext cx="4666783" cy="5608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Evaluation of EBP Grant</a:t>
          </a:r>
        </a:p>
      </dsp:txBody>
      <dsp:txXfrm>
        <a:off x="360721" y="3236560"/>
        <a:ext cx="4612023" cy="506120"/>
      </dsp:txXfrm>
    </dsp:sp>
    <dsp:sp modelId="{073BD7DE-7897-462D-97A4-B897F8598B23}">
      <dsp:nvSpPr>
        <dsp:cNvPr id="0" name=""/>
        <dsp:cNvSpPr/>
      </dsp:nvSpPr>
      <dsp:spPr>
        <a:xfrm>
          <a:off x="0" y="4351460"/>
          <a:ext cx="6666833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B5D219-0BD9-4F23-B550-82E1C0B9AE84}">
      <dsp:nvSpPr>
        <dsp:cNvPr id="0" name=""/>
        <dsp:cNvSpPr/>
      </dsp:nvSpPr>
      <dsp:spPr>
        <a:xfrm>
          <a:off x="333341" y="4071020"/>
          <a:ext cx="4666783" cy="56088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losing</a:t>
          </a:r>
        </a:p>
      </dsp:txBody>
      <dsp:txXfrm>
        <a:off x="360721" y="4098400"/>
        <a:ext cx="4612023" cy="5061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E08260-3B89-4666-B7F8-465A8F576CDB}">
      <dsp:nvSpPr>
        <dsp:cNvPr id="0" name=""/>
        <dsp:cNvSpPr/>
      </dsp:nvSpPr>
      <dsp:spPr>
        <a:xfrm rot="10800000">
          <a:off x="2044316" y="2520"/>
          <a:ext cx="6992874" cy="113181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9098" tIns="106680" rIns="199136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Highly Competitive</a:t>
          </a:r>
        </a:p>
      </dsp:txBody>
      <dsp:txXfrm rot="10800000">
        <a:off x="2327269" y="2520"/>
        <a:ext cx="6709921" cy="1131813"/>
      </dsp:txXfrm>
    </dsp:sp>
    <dsp:sp modelId="{683D3E45-20D5-4EEC-B39E-73935099BE5F}">
      <dsp:nvSpPr>
        <dsp:cNvPr id="0" name=""/>
        <dsp:cNvSpPr/>
      </dsp:nvSpPr>
      <dsp:spPr>
        <a:xfrm>
          <a:off x="1478409" y="2520"/>
          <a:ext cx="1131813" cy="1131813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B50F17-61A1-4897-B41C-CC4FDB3DC649}">
      <dsp:nvSpPr>
        <dsp:cNvPr id="0" name=""/>
        <dsp:cNvSpPr/>
      </dsp:nvSpPr>
      <dsp:spPr>
        <a:xfrm rot="10800000">
          <a:off x="2044316" y="1459743"/>
          <a:ext cx="6992874" cy="113181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9098" tIns="91440" rIns="170688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33* Funded; 36 Not Funded</a:t>
          </a:r>
        </a:p>
      </dsp:txBody>
      <dsp:txXfrm rot="10800000">
        <a:off x="2327269" y="1459743"/>
        <a:ext cx="6709921" cy="1131813"/>
      </dsp:txXfrm>
    </dsp:sp>
    <dsp:sp modelId="{7326D861-CAAA-4E98-8051-180FAC92145C}">
      <dsp:nvSpPr>
        <dsp:cNvPr id="0" name=""/>
        <dsp:cNvSpPr/>
      </dsp:nvSpPr>
      <dsp:spPr>
        <a:xfrm>
          <a:off x="1478409" y="1459743"/>
          <a:ext cx="1131813" cy="113181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DBE8D7-2253-4087-9412-9DA1B56606DA}">
      <dsp:nvSpPr>
        <dsp:cNvPr id="0" name=""/>
        <dsp:cNvSpPr/>
      </dsp:nvSpPr>
      <dsp:spPr>
        <a:xfrm rot="10800000">
          <a:off x="2044316" y="2916966"/>
          <a:ext cx="6992874" cy="1131813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9098" tIns="53340" rIns="99568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3 – ELT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4 – Recruitment and Retenti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16- Co-Teaching and Inclusi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10 (13)* – Early Literacy</a:t>
          </a:r>
        </a:p>
      </dsp:txBody>
      <dsp:txXfrm rot="10800000">
        <a:off x="2327269" y="2916966"/>
        <a:ext cx="6709921" cy="1131813"/>
      </dsp:txXfrm>
    </dsp:sp>
    <dsp:sp modelId="{730D7710-36DB-485F-8374-AA424990BFEF}">
      <dsp:nvSpPr>
        <dsp:cNvPr id="0" name=""/>
        <dsp:cNvSpPr/>
      </dsp:nvSpPr>
      <dsp:spPr>
        <a:xfrm>
          <a:off x="1478409" y="2916966"/>
          <a:ext cx="1131813" cy="1131813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B46A6-784A-41C0-A6A3-773562884770}">
      <dsp:nvSpPr>
        <dsp:cNvPr id="0" name=""/>
        <dsp:cNvSpPr/>
      </dsp:nvSpPr>
      <dsp:spPr>
        <a:xfrm>
          <a:off x="-164933" y="-177888"/>
          <a:ext cx="8938260" cy="195810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>
                  <a:lumMod val="85000"/>
                  <a:lumOff val="15000"/>
                </a:schemeClr>
              </a:solidFill>
            </a:rPr>
            <a:t>Pursuant to the </a:t>
          </a:r>
          <a:r>
            <a:rPr lang="en-US" sz="2400" kern="1200" dirty="0">
              <a:solidFill>
                <a:schemeClr val="tx1">
                  <a:lumMod val="85000"/>
                  <a:lumOff val="15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Student Opportunity Act</a:t>
          </a:r>
          <a:r>
            <a:rPr lang="en-US" sz="2400" kern="1200" dirty="0">
              <a:solidFill>
                <a:schemeClr val="tx1">
                  <a:lumMod val="85000"/>
                  <a:lumOff val="15000"/>
                </a:schemeClr>
              </a:solidFill>
            </a:rPr>
            <a:t> (SL c. 132, s 16d):</a:t>
          </a:r>
        </a:p>
      </dsp:txBody>
      <dsp:txXfrm>
        <a:off x="-107582" y="-120537"/>
        <a:ext cx="6914408" cy="1843400"/>
      </dsp:txXfrm>
    </dsp:sp>
    <dsp:sp modelId="{2A088A98-6E06-4810-B920-F1D3A30B486E}">
      <dsp:nvSpPr>
        <dsp:cNvPr id="0" name=""/>
        <dsp:cNvSpPr/>
      </dsp:nvSpPr>
      <dsp:spPr>
        <a:xfrm>
          <a:off x="1082540" y="1859569"/>
          <a:ext cx="9597992" cy="2669656"/>
        </a:xfrm>
        <a:prstGeom prst="roundRect">
          <a:avLst>
            <a:gd name="adj" fmla="val 1000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1" kern="1200" dirty="0">
              <a:solidFill>
                <a:schemeClr val="tx1">
                  <a:lumMod val="85000"/>
                  <a:lumOff val="15000"/>
                </a:schemeClr>
              </a:solidFill>
            </a:rPr>
            <a:t>All grant applications shall include: (</a:t>
          </a:r>
          <a:r>
            <a:rPr lang="en-US" sz="2000" b="0" i="1" kern="1200" dirty="0" err="1">
              <a:solidFill>
                <a:schemeClr val="tx1">
                  <a:lumMod val="85000"/>
                  <a:lumOff val="15000"/>
                </a:schemeClr>
              </a:solidFill>
            </a:rPr>
            <a:t>i</a:t>
          </a:r>
          <a:r>
            <a:rPr lang="en-US" sz="2000" b="0" i="1" kern="1200" dirty="0">
              <a:solidFill>
                <a:schemeClr val="tx1">
                  <a:lumMod val="85000"/>
                  <a:lumOff val="15000"/>
                </a:schemeClr>
              </a:solidFill>
            </a:rPr>
            <a:t>) </a:t>
          </a:r>
          <a:r>
            <a:rPr lang="en-US" sz="2000" b="1" i="1" kern="1200" dirty="0">
              <a:solidFill>
                <a:schemeClr val="tx1">
                  <a:lumMod val="85000"/>
                  <a:lumOff val="15000"/>
                </a:schemeClr>
              </a:solidFill>
            </a:rPr>
            <a:t>an evaluation plan, including identification of the researcher or organization responsible for ongoing evaluation; (ii) a statement of the expected impact; </a:t>
          </a:r>
          <a:r>
            <a:rPr lang="en-US" sz="2000" b="0" i="1" kern="1200" dirty="0">
              <a:solidFill>
                <a:schemeClr val="tx1">
                  <a:lumMod val="85000"/>
                  <a:lumOff val="15000"/>
                </a:schemeClr>
              </a:solidFill>
            </a:rPr>
            <a:t>(iii) a preliminary estimate of the cost of the intervention; (iv) identification of a comparison group for the purpose of assessing effectiveness; and (v) a mechanism for determining how the proposal may be effectively replicated.</a:t>
          </a:r>
          <a:endParaRPr lang="en-US" sz="2000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1160732" y="1937761"/>
        <a:ext cx="6381136" cy="2513272"/>
      </dsp:txXfrm>
    </dsp:sp>
    <dsp:sp modelId="{0F59433F-1A01-451F-A74D-9B1DACA36D71}">
      <dsp:nvSpPr>
        <dsp:cNvPr id="0" name=""/>
        <dsp:cNvSpPr/>
      </dsp:nvSpPr>
      <dsp:spPr>
        <a:xfrm>
          <a:off x="7500560" y="1361397"/>
          <a:ext cx="1272766" cy="1272766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7786932" y="1361397"/>
        <a:ext cx="700022" cy="9577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73AE36A-9849-8734-68B0-2D959C7265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F2755D-0799-B19A-BCBD-8C9E999E64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11163C-EE2E-7546-90F8-CF22AAE91DD9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C1E47C-F85D-AA6B-B568-76BD637D3E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A28AEA-2389-7F26-5A5D-D8C5E312DFE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190C47-E711-1845-B18B-7A2271B970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4912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251491-C050-C142-BE35-A9B9D73644B3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FC15E-7FD1-034A-9729-2C6FA6821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7814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 – Maybe have participants put it in the cha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2402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 - Discussion and input – 30-40 minu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66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  -2 minu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3447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017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89209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57051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Kar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036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oira *North Berkshire included four districts (Clarksburg, Florida, Rowe, Savoy) and Martha’s Vineyard included 6 (Edgartown, Oak Bluffs, Tisbury, West Tisbury, Chilmark, MVH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6111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oira - NOTE that ELT was funded by 225B in FY23 ($151,500); Savoy (part of North Berkshire) is doing co-teaching/inclusion whereas Clarksburg, Florida, and Rowe are doing early literacy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5519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oir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6323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e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675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rica – Progress Monitoring with AIR Legislative Requirement; too expensive for districts (external evaluator); list of tools see update to AAAC (student surveys, focus groups, staff surveys, onsite observations, etc.) District level – what do we need to make sure we are collecting for each EBP </a:t>
            </a:r>
            <a:r>
              <a:rPr lang="en-US"/>
              <a:t>anything miss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812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C7EE377-B8E1-46C6-764E-35B9C88999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A9C25D-EF20-84AD-D14D-2061BB41F0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5838" y="690351"/>
            <a:ext cx="8631677" cy="19282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6600">
                <a:solidFill>
                  <a:schemeClr val="bg1"/>
                </a:solidFill>
                <a:latin typeface="Arial" panose="020B0604020202020204" pitchFamily="34" charset="0"/>
                <a:ea typeface="Apple Symbols" panose="02000000000000000000" pitchFamily="2" charset="-79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17F9B5-9E18-407C-4D11-7AC3882D70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838" y="5466944"/>
            <a:ext cx="6770451" cy="1391055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3647B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3403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49ACD0E-8079-4F3B-B8AF-AD34FEAE5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9382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49ACD0E-8079-4F3B-B8AF-AD34FEAE53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图片 7" descr="The star in the ESE logo.">
            <a:extLst>
              <a:ext uri="{FF2B5EF4-FFF2-40B4-BE49-F238E27FC236}">
                <a16:creationId xmlns:a16="http://schemas.microsoft.com/office/drawing/2014/main" id="{D29EC22F-9146-4C71-BE41-59DB07B9E9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09" y="6132352"/>
            <a:ext cx="756579" cy="778194"/>
          </a:xfrm>
          <a:prstGeom prst="rect">
            <a:avLst/>
          </a:prstGeom>
        </p:spPr>
      </p:pic>
      <p:sp>
        <p:nvSpPr>
          <p:cNvPr id="20" name="矩形 6" descr="Colored background box.">
            <a:extLst>
              <a:ext uri="{FF2B5EF4-FFF2-40B4-BE49-F238E27FC236}">
                <a16:creationId xmlns:a16="http://schemas.microsoft.com/office/drawing/2014/main" id="{CEA88DC9-5157-4CCA-BD8C-BC206EB2FD72}"/>
              </a:ext>
            </a:extLst>
          </p:cNvPr>
          <p:cNvSpPr/>
          <p:nvPr userDrawn="1"/>
        </p:nvSpPr>
        <p:spPr>
          <a:xfrm>
            <a:off x="1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1" name="矩形 8" descr="Colored background box.">
            <a:extLst>
              <a:ext uri="{FF2B5EF4-FFF2-40B4-BE49-F238E27FC236}">
                <a16:creationId xmlns:a16="http://schemas.microsoft.com/office/drawing/2014/main" id="{6BADDFDE-B4E3-4890-B1CF-A6CC3537223C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</p:spTree>
    <p:extLst>
      <p:ext uri="{BB962C8B-B14F-4D97-AF65-F5344CB8AC3E}">
        <p14:creationId xmlns:p14="http://schemas.microsoft.com/office/powerpoint/2010/main" val="2314823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5B1DD3-2747-4E6A-93E5-BD40C942E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947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5B1DD3-2747-4E6A-93E5-BD40C942E1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3768633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D5A72-E2F7-0E3B-0DDA-8AEE476CFD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86984"/>
            <a:ext cx="10515600" cy="4052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8D37926-3C4B-41C8-EFDB-911300C24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98412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0924193-02B9-9810-A50A-C323F20B00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6112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7A35BE-2442-7C64-032F-EEC3B84E8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25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rgbClr val="3647B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D8DA3C-9A4F-10ED-C6D4-40AC09EDE5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712387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A65D87-AFBC-843E-1CA6-0F0D9EB66B62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069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55C14D-8924-F22D-FF6C-1CEECDCEA3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19256"/>
            <a:ext cx="5181600" cy="4057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748EB7-DF60-9429-B7C4-F17C2FD195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19256"/>
            <a:ext cx="5181600" cy="4057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8">
            <a:extLst>
              <a:ext uri="{FF2B5EF4-FFF2-40B4-BE49-F238E27FC236}">
                <a16:creationId xmlns:a16="http://schemas.microsoft.com/office/drawing/2014/main" id="{09305E6D-E633-8F98-0EDC-7F3C0166D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0580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07D04F-CFDA-AB0A-0CB3-633767A38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612" y="2109863"/>
            <a:ext cx="5157787" cy="6759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E417A7-92FA-2590-1532-B39F1253F8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861535"/>
            <a:ext cx="5157787" cy="33281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583ECC-3794-AE5F-27B5-A74B4DEC73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109863"/>
            <a:ext cx="5183188" cy="6759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4E5DA7-1D14-860C-86DA-E26B78A695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861535"/>
            <a:ext cx="5183188" cy="33281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AA033EDD-4130-6D25-944B-3C4E62F04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136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FE5DF1-48AB-E0EB-F43E-6ACA748DB7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5A7959-19EC-57EE-7E3C-D0AA505DB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82157"/>
            <a:ext cx="10515600" cy="10936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6000">
                <a:solidFill>
                  <a:srgbClr val="3647B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0BCF7B-22B6-6253-4D64-9AD634D23090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19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EBAB681-AC2C-C77A-18CF-DCFBC5F417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0BC1E5-8CCE-BA2E-FCAF-D803E35C5BB4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25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BFF6852-088F-2460-26AE-643C01A590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0DFDD0-A0F2-83DC-8B7C-F0E019570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168" y="996950"/>
            <a:ext cx="3932237" cy="1600200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17D2E1-E1A8-E3A2-FBE0-B7BCE986DF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7E9988-0A31-7185-4BB3-3C4229E099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169" y="2774373"/>
            <a:ext cx="3932237" cy="308667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D28B3D-8AA7-7411-73DB-702ACCECC369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381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691A5A-4639-4A17-81AE-6B9D409E82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47FD8C-2415-7AF2-D9F7-2FD9A5E45B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5B6969-06CB-5136-72BE-7F36D6601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168" y="996950"/>
            <a:ext cx="3932237" cy="1600200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5190A3B-C978-9A37-3EC2-7DD786CF89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169" y="2774373"/>
            <a:ext cx="3932237" cy="308667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551DB3-822F-D681-37C0-3180279A1079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919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flag&#10;&#10;Description automatically generated with low confidence">
            <a:extLst>
              <a:ext uri="{FF2B5EF4-FFF2-40B4-BE49-F238E27FC236}">
                <a16:creationId xmlns:a16="http://schemas.microsoft.com/office/drawing/2014/main" id="{04FFFA98-BE84-F3D2-7C54-E616A2B54E5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F07E45-5358-D826-413C-524778517A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089013"/>
            <a:ext cx="10515600" cy="4087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4B734709-A90C-544A-96B6-4BCE82CBB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00C52F-DC60-BE86-6751-7E45895AE1B5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308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hyperlink" Target="https://www.doe.mass.edu/grants/2023/117-225B/" TargetMode="External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grants/2024/117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1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B4766-0EE3-8028-2E23-5FACFF0960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21</a:t>
            </a:r>
            <a:r>
              <a:rPr lang="en-US" baseline="30000" dirty="0"/>
              <a:t>st</a:t>
            </a:r>
            <a:r>
              <a:rPr lang="en-US" dirty="0"/>
              <a:t> Century Education Advisory Council Mee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1FB839-A537-685A-EE8C-AF8C11F1A2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May 23, 2023</a:t>
            </a:r>
          </a:p>
        </p:txBody>
      </p:sp>
    </p:spTree>
    <p:extLst>
      <p:ext uri="{BB962C8B-B14F-4D97-AF65-F5344CB8AC3E}">
        <p14:creationId xmlns:p14="http://schemas.microsoft.com/office/powerpoint/2010/main" val="3472057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3346177D-ADC4-4968-B747-5CFCD390B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A9F5F8-BD48-0D19-2483-B2D362EBC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6501" y="489508"/>
            <a:ext cx="5754896" cy="1667569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rogram Evaluation: </a:t>
            </a:r>
            <a:br>
              <a:rPr lang="en-US"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40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phic 6" descr="Board Room">
            <a:extLst>
              <a:ext uri="{FF2B5EF4-FFF2-40B4-BE49-F238E27FC236}">
                <a16:creationId xmlns:a16="http://schemas.microsoft.com/office/drawing/2014/main" id="{57597F88-D79C-6C73-3685-D94BAED1BE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8130" y="1275070"/>
            <a:ext cx="3876165" cy="3876165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815C80-037A-B30E-7C2E-0CE7B9D104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6502" y="2405894"/>
            <a:ext cx="5754896" cy="319746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>
                <a:latin typeface="+mn-lt"/>
                <a:cs typeface="+mn-cs"/>
              </a:rPr>
              <a:t>DESE led to incur/reduce cost for districts</a:t>
            </a:r>
          </a:p>
          <a:p>
            <a:r>
              <a:rPr lang="en-US" sz="2000">
                <a:latin typeface="+mn-lt"/>
                <a:cs typeface="+mn-cs"/>
              </a:rPr>
              <a:t>What data do we gather to serve an evaluation on program effectiveness and impact?</a:t>
            </a:r>
          </a:p>
          <a:p>
            <a:pPr marL="0"/>
            <a:endParaRPr lang="en-US" sz="2000">
              <a:latin typeface="+mn-lt"/>
              <a:cs typeface="+mn-cs"/>
            </a:endParaRPr>
          </a:p>
          <a:p>
            <a:pPr marL="0" indent="0">
              <a:buNone/>
            </a:pPr>
            <a:r>
              <a:rPr lang="en-US" sz="2000" b="1" i="1">
                <a:latin typeface="+mn-lt"/>
                <a:cs typeface="+mn-cs"/>
              </a:rPr>
              <a:t>What questions do we need to answer and what data will help answer those questions?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844A943-BF79-4FEA-ABB1-3BD54D2366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0" y="6400799"/>
            <a:ext cx="12192000" cy="456773"/>
          </a:xfrm>
          <a:prstGeom prst="rect">
            <a:avLst/>
          </a:prstGeom>
          <a:gradFill>
            <a:gsLst>
              <a:gs pos="0">
                <a:schemeClr val="accent1"/>
              </a:gs>
              <a:gs pos="90000">
                <a:srgbClr val="000000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437CC72-F4A8-4DC3-AFAB-D22C482C81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038600" y="6400799"/>
            <a:ext cx="8153398" cy="456772"/>
          </a:xfrm>
          <a:prstGeom prst="rect">
            <a:avLst/>
          </a:prstGeom>
          <a:gradFill>
            <a:gsLst>
              <a:gs pos="0">
                <a:srgbClr val="000000">
                  <a:alpha val="50000"/>
                </a:srgbClr>
              </a:gs>
              <a:gs pos="100000">
                <a:schemeClr val="accent1">
                  <a:lumMod val="7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299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53B021B3-DE93-4AB7-8A18-CF5F1CED88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F2BA5A-C019-AE81-5923-1D0954468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56032"/>
            <a:ext cx="10506456" cy="101498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dvisory Council Discussion: </a:t>
            </a:r>
            <a:b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hat data could we gather to understand progress and impact?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2D502E5-F6B4-4D58-B4AE-FC466FF15E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65953" y="1634502"/>
            <a:ext cx="10451592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ECDBF4-02B6-4BB4-B65B-B8107AD6A9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841248" y="1538176"/>
            <a:ext cx="1873457" cy="1098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3E2B0385-6199-A91E-B397-1D7DBD0CB7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7768649"/>
              </p:ext>
            </p:extLst>
          </p:nvPr>
        </p:nvGraphicFramePr>
        <p:xfrm>
          <a:off x="606175" y="1933438"/>
          <a:ext cx="10903526" cy="4457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6541">
                  <a:extLst>
                    <a:ext uri="{9D8B030D-6E8A-4147-A177-3AD203B41FA5}">
                      <a16:colId xmlns:a16="http://schemas.microsoft.com/office/drawing/2014/main" val="4127325435"/>
                    </a:ext>
                  </a:extLst>
                </a:gridCol>
                <a:gridCol w="3233537">
                  <a:extLst>
                    <a:ext uri="{9D8B030D-6E8A-4147-A177-3AD203B41FA5}">
                      <a16:colId xmlns:a16="http://schemas.microsoft.com/office/drawing/2014/main" val="2242353007"/>
                    </a:ext>
                  </a:extLst>
                </a:gridCol>
                <a:gridCol w="2705827">
                  <a:extLst>
                    <a:ext uri="{9D8B030D-6E8A-4147-A177-3AD203B41FA5}">
                      <a16:colId xmlns:a16="http://schemas.microsoft.com/office/drawing/2014/main" val="478647"/>
                    </a:ext>
                  </a:extLst>
                </a:gridCol>
                <a:gridCol w="2617621">
                  <a:extLst>
                    <a:ext uri="{9D8B030D-6E8A-4147-A177-3AD203B41FA5}">
                      <a16:colId xmlns:a16="http://schemas.microsoft.com/office/drawing/2014/main" val="578896067"/>
                    </a:ext>
                  </a:extLst>
                </a:gridCol>
              </a:tblGrid>
              <a:tr h="401030">
                <a:tc>
                  <a:txBody>
                    <a:bodyPr/>
                    <a:lstStyle/>
                    <a:p>
                      <a:pPr algn="ctr"/>
                      <a:r>
                        <a:rPr lang="en-US" sz="1700"/>
                        <a:t>ELT</a:t>
                      </a:r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/>
                        <a:t>Recruitment and Retention</a:t>
                      </a:r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/>
                        <a:t>Co-Teaching &amp; Inclusion</a:t>
                      </a:r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/>
                        <a:t>Early Literacy</a:t>
                      </a:r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623710395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282153145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140120760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2211174129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415821914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1664271168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3425495252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3225638859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3880451274"/>
                  </a:ext>
                </a:extLst>
              </a:tr>
              <a:tr h="450673"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tc>
                  <a:txBody>
                    <a:bodyPr/>
                    <a:lstStyle/>
                    <a:p>
                      <a:endParaRPr lang="en-US" sz="1700"/>
                    </a:p>
                  </a:txBody>
                  <a:tcPr marL="87621" marR="87621" marT="43810" marB="43810"/>
                </a:tc>
                <a:extLst>
                  <a:ext uri="{0D108BD9-81ED-4DB2-BD59-A6C34878D82A}">
                    <a16:rowId xmlns:a16="http://schemas.microsoft.com/office/drawing/2014/main" val="4161435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7576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46F92F9-639E-72C5-5D13-D208B00EA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sing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9B66774-A3FA-8BDC-5AB5-6C33BF81FD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Next Steps</a:t>
            </a:r>
          </a:p>
          <a:p>
            <a:r>
              <a:rPr lang="en-US"/>
              <a:t>Next Meeting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3756205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E2A07-A754-66F2-CA7F-D22AFA7D2D4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042852"/>
            <a:ext cx="10515600" cy="10428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Thank you!</a:t>
            </a:r>
          </a:p>
        </p:txBody>
      </p:sp>
      <p:pic>
        <p:nvPicPr>
          <p:cNvPr id="4098" name="Picture 2" descr="1,000+ Best Thank You Images · 100% Free Download · Pexels ...">
            <a:extLst>
              <a:ext uri="{FF2B5EF4-FFF2-40B4-BE49-F238E27FC236}">
                <a16:creationId xmlns:a16="http://schemas.microsoft.com/office/drawing/2014/main" id="{E2E7A70A-F116-2973-0ADD-8E4356B02C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350" y="1857375"/>
            <a:ext cx="5829300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8950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12215C-BFD8-5049-8C86-A7DCAA965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lcome!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5F77C0A-F34B-2B3F-484B-7459BE4421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Quick Hello/Introductions</a:t>
            </a:r>
          </a:p>
          <a:p>
            <a:r>
              <a:rPr lang="en-US">
                <a:latin typeface="Arial"/>
                <a:cs typeface="Arial"/>
              </a:rPr>
              <a:t>Icebreaker – Trivia Question!</a:t>
            </a:r>
          </a:p>
          <a:p>
            <a:r>
              <a:rPr lang="en-US" i="1">
                <a:latin typeface="Arial"/>
                <a:cs typeface="Arial"/>
              </a:rPr>
              <a:t>Good News and Urgent Messages</a:t>
            </a:r>
          </a:p>
        </p:txBody>
      </p:sp>
    </p:spTree>
    <p:extLst>
      <p:ext uri="{BB962C8B-B14F-4D97-AF65-F5344CB8AC3E}">
        <p14:creationId xmlns:p14="http://schemas.microsoft.com/office/powerpoint/2010/main" val="17668908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F5B3D0-E132-8BEF-E2D2-A18FBD6EE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2200" dirty="0">
                <a:solidFill>
                  <a:srgbClr val="FFFFFF"/>
                </a:solidFill>
              </a:rPr>
              <a:t>Agenda:</a:t>
            </a:r>
            <a:br>
              <a:rPr lang="en-US" sz="2200" dirty="0">
                <a:solidFill>
                  <a:srgbClr val="FFFFFF"/>
                </a:solidFill>
              </a:rPr>
            </a:br>
            <a:br>
              <a:rPr lang="en-US" sz="2200" dirty="0">
                <a:solidFill>
                  <a:srgbClr val="FFFFFF"/>
                </a:solidFill>
              </a:rPr>
            </a:br>
            <a:r>
              <a:rPr lang="en-US" sz="2200" i="1" dirty="0">
                <a:solidFill>
                  <a:srgbClr val="FFFFFF"/>
                </a:solidFill>
              </a:rPr>
              <a:t>Essential Question: What do we want to know about the impact of this grant and how do we find out?</a:t>
            </a:r>
          </a:p>
        </p:txBody>
      </p:sp>
      <p:graphicFrame>
        <p:nvGraphicFramePr>
          <p:cNvPr id="6" name="Content Placeholder 2" descr="Agenda Items">
            <a:extLst>
              <a:ext uri="{FF2B5EF4-FFF2-40B4-BE49-F238E27FC236}">
                <a16:creationId xmlns:a16="http://schemas.microsoft.com/office/drawing/2014/main" id="{294F9DB4-EFC6-3882-B21E-FE29B41399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0374335"/>
              </p:ext>
            </p:extLst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6FD589-A6B1-09BF-B6B9-43DB59AD0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4320" y="6455664"/>
            <a:ext cx="448056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FF27229C-EC7B-4063-A33B-28A5E87E32ED}" type="slidenum">
              <a:rPr lang="zh-CN" alt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3</a:t>
            </a:fld>
            <a:endParaRPr lang="zh-CN" alt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940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C6D2B77-B216-A658-AAEA-A4E2E615F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s and Responsibiliti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759512-1329-6494-D53D-5C9212BF18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solidFill>
            <a:schemeClr val="accent2">
              <a:lumMod val="75000"/>
            </a:schemeClr>
          </a:solidFill>
        </p:spPr>
        <p:txBody>
          <a:bodyPr/>
          <a:lstStyle/>
          <a:p>
            <a:r>
              <a:rPr lang="en-US" sz="3200" dirty="0"/>
              <a:t>Advisory Counci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BD1040F-3107-DF0D-29BC-BF08E6F7D2A9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sz="2400"/>
              <a:t>Make recommendations on the improvement of the design, oversight, or implementation of the Education Program (grant provided for by the 21</a:t>
            </a:r>
            <a:r>
              <a:rPr lang="en-US" sz="2400" baseline="30000"/>
              <a:t>st</a:t>
            </a:r>
            <a:r>
              <a:rPr lang="en-US" sz="2400"/>
              <a:t> Century Education Trust).</a:t>
            </a:r>
          </a:p>
          <a:p>
            <a:r>
              <a:rPr lang="en-US" sz="2400"/>
              <a:t>Draw on shared expertise to inform the development of the grant funded through the Trust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B551012-B3D7-08CF-4D95-2A333C29907C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solidFill>
            <a:schemeClr val="accent2">
              <a:lumMod val="75000"/>
            </a:schemeClr>
          </a:solidFill>
        </p:spPr>
        <p:txBody>
          <a:bodyPr/>
          <a:lstStyle/>
          <a:p>
            <a:r>
              <a:rPr lang="en-US" dirty="0"/>
              <a:t>DESE Staff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120A6AE-0FA1-2EDE-8547-458A97D974C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13713" y="2204358"/>
            <a:ext cx="5452057" cy="4364717"/>
          </a:xfrm>
        </p:spPr>
        <p:txBody>
          <a:bodyPr/>
          <a:lstStyle/>
          <a:p>
            <a:r>
              <a:rPr lang="en-US" sz="2000"/>
              <a:t>Develop grant opportunity focused on gap closing.</a:t>
            </a:r>
          </a:p>
          <a:p>
            <a:r>
              <a:rPr lang="en-US" sz="2000"/>
              <a:t>Present DRAFT grant funding plan to Advisory Council.</a:t>
            </a:r>
          </a:p>
          <a:p>
            <a:r>
              <a:rPr lang="en-US" sz="2000"/>
              <a:t>Incorporate feedback from Advisory Council into the grant.</a:t>
            </a:r>
          </a:p>
          <a:p>
            <a:r>
              <a:rPr lang="en-US" sz="2000"/>
              <a:t>Post and administer grant.</a:t>
            </a:r>
          </a:p>
          <a:p>
            <a:r>
              <a:rPr lang="en-US" sz="2000"/>
              <a:t>Provide ongoing updates to the Advisory Council.</a:t>
            </a:r>
          </a:p>
          <a:p>
            <a:r>
              <a:rPr lang="en-US" sz="2000"/>
              <a:t>Foster and promote related evaluation processes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622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43A4D47-4942-52FD-2BAC-694CCEE86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ct SOA Updat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527D93-69F6-BE4C-84A3-D69158FB4B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77500" lnSpcReduction="20000"/>
          </a:bodyPr>
          <a:lstStyle/>
          <a:p>
            <a:r>
              <a:rPr lang="en-US" dirty="0">
                <a:latin typeface="Arial"/>
                <a:cs typeface="Arial"/>
              </a:rPr>
              <a:t>Most districts have submitted updates to their 3-year plans;</a:t>
            </a:r>
          </a:p>
          <a:p>
            <a:r>
              <a:rPr lang="en-US" dirty="0">
                <a:latin typeface="Arial"/>
                <a:cs typeface="Arial"/>
              </a:rPr>
              <a:t>Team reviewing updates and coding;</a:t>
            </a:r>
          </a:p>
          <a:p>
            <a:r>
              <a:rPr lang="en-US" dirty="0">
                <a:latin typeface="Arial"/>
                <a:cs typeface="Arial"/>
              </a:rPr>
              <a:t>Outreach to districts re: budgetary questions</a:t>
            </a:r>
          </a:p>
          <a:p>
            <a:r>
              <a:rPr lang="en-US" dirty="0">
                <a:latin typeface="Arial"/>
                <a:cs typeface="Arial"/>
              </a:rPr>
              <a:t>Updates reflect:</a:t>
            </a:r>
          </a:p>
          <a:p>
            <a:pPr lvl="1"/>
            <a:r>
              <a:rPr lang="en-US" sz="2800" dirty="0">
                <a:latin typeface="Arial"/>
                <a:cs typeface="Arial"/>
              </a:rPr>
              <a:t>More thoughtful reflections on the EBPs being implemented</a:t>
            </a:r>
          </a:p>
          <a:p>
            <a:pPr lvl="1"/>
            <a:r>
              <a:rPr lang="en-US" sz="2800" dirty="0">
                <a:latin typeface="Arial"/>
                <a:cs typeface="Arial"/>
              </a:rPr>
              <a:t>Districts becoming somewhat familiar with the format and providing useful, requested information.</a:t>
            </a:r>
          </a:p>
          <a:p>
            <a:pPr lvl="1"/>
            <a:r>
              <a:rPr lang="en-US" sz="2800" dirty="0">
                <a:latin typeface="Arial"/>
                <a:cs typeface="Arial"/>
              </a:rPr>
              <a:t>Still a heavy focus on implementation (as opposed to outcomes and gap closing) and </a:t>
            </a:r>
          </a:p>
          <a:p>
            <a:pPr lvl="1"/>
            <a:r>
              <a:rPr lang="en-US" sz="2800" dirty="0">
                <a:latin typeface="Arial"/>
                <a:cs typeface="Arial"/>
              </a:rPr>
              <a:t>Area for growth – use of data to demonstrate impact on gap closing</a:t>
            </a:r>
            <a:endParaRPr lang="en-US" sz="2800" dirty="0"/>
          </a:p>
          <a:p>
            <a:pPr lvl="1"/>
            <a:r>
              <a:rPr lang="en-US" sz="2800" dirty="0">
                <a:latin typeface="Arial"/>
                <a:cs typeface="Arial"/>
              </a:rPr>
              <a:t>Complicated data reporting on use of additional Chapter 70 funding</a:t>
            </a:r>
          </a:p>
          <a:p>
            <a:pPr lvl="1"/>
            <a:endParaRPr lang="en-US" sz="2800" dirty="0"/>
          </a:p>
          <a:p>
            <a:pPr marL="457200" lvl="1" indent="0">
              <a:buNone/>
            </a:pPr>
            <a:r>
              <a:rPr lang="en-US" sz="2800" i="1" dirty="0">
                <a:latin typeface="Arial"/>
                <a:cs typeface="Arial"/>
              </a:rPr>
              <a:t>These will inform how we ask for this information next year.</a:t>
            </a:r>
            <a:endParaRPr lang="en-US" sz="2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5839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1E2BD7-1241-6035-38EF-F8C0B4BFB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Y23 SOA </a:t>
            </a:r>
            <a:r>
              <a:rPr lang="en-US" dirty="0">
                <a:hlinkClick r:id="rId3"/>
              </a:rPr>
              <a:t>Evidence-Based Practice Grant</a:t>
            </a:r>
            <a:endParaRPr lang="en-US" dirty="0"/>
          </a:p>
        </p:txBody>
      </p:sp>
      <p:graphicFrame>
        <p:nvGraphicFramePr>
          <p:cNvPr id="6" name="Content Placeholder 5" descr="Evidendce-Based practice grant 33 unded: 36 not funded">
            <a:extLst>
              <a:ext uri="{FF2B5EF4-FFF2-40B4-BE49-F238E27FC236}">
                <a16:creationId xmlns:a16="http://schemas.microsoft.com/office/drawing/2014/main" id="{CCBBC886-F9E4-F059-543F-2833D7B0B3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5861087"/>
              </p:ext>
            </p:extLst>
          </p:nvPr>
        </p:nvGraphicFramePr>
        <p:xfrm>
          <a:off x="838200" y="2087563"/>
          <a:ext cx="10515600" cy="4051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54008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FEA5A-2488-5717-E04C-BF93604B375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042852"/>
            <a:ext cx="10515600" cy="10428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Grant chart</a:t>
            </a:r>
          </a:p>
        </p:txBody>
      </p:sp>
      <p:pic>
        <p:nvPicPr>
          <p:cNvPr id="11" name="Picture 10" descr="Grant chart">
            <a:extLst>
              <a:ext uri="{FF2B5EF4-FFF2-40B4-BE49-F238E27FC236}">
                <a16:creationId xmlns:a16="http://schemas.microsoft.com/office/drawing/2014/main" id="{AFB71424-7A8F-5FFE-4D5C-526C686256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725" t="25506" r="4522" b="10674"/>
          <a:stretch/>
        </p:blipFill>
        <p:spPr>
          <a:xfrm>
            <a:off x="1458930" y="108945"/>
            <a:ext cx="8989887" cy="639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7021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39AB4A7-09B2-94E8-D0E4-013875DE2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Y24 Recently Post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2B6B536-2445-6C0C-220B-DC5562EA98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hlinkClick r:id="rId3"/>
              </a:rPr>
              <a:t>FY24 Reapplication </a:t>
            </a:r>
            <a:r>
              <a:rPr lang="en-US"/>
              <a:t>Due June 9, 2023</a:t>
            </a:r>
          </a:p>
          <a:p>
            <a:r>
              <a:rPr lang="en-US"/>
              <a:t>Part III Information Requested:</a:t>
            </a:r>
          </a:p>
          <a:p>
            <a:pPr lvl="1"/>
            <a:r>
              <a:rPr lang="en-US"/>
              <a:t>Update</a:t>
            </a:r>
          </a:p>
          <a:p>
            <a:pPr lvl="1"/>
            <a:r>
              <a:rPr lang="en-US"/>
              <a:t>Stakeholder Communication Plan</a:t>
            </a:r>
          </a:p>
          <a:p>
            <a:pPr lvl="1"/>
            <a:r>
              <a:rPr lang="en-US" b="1" i="1"/>
              <a:t>Progress Monitoring</a:t>
            </a:r>
          </a:p>
          <a:p>
            <a:pPr lvl="1"/>
            <a:r>
              <a:rPr lang="en-US"/>
              <a:t>Cost Estimate</a:t>
            </a:r>
          </a:p>
          <a:p>
            <a:pPr lvl="1"/>
            <a:r>
              <a:rPr lang="en-US"/>
              <a:t>Sustainability Plan</a:t>
            </a:r>
          </a:p>
        </p:txBody>
      </p:sp>
    </p:spTree>
    <p:extLst>
      <p:ext uri="{BB962C8B-B14F-4D97-AF65-F5344CB8AC3E}">
        <p14:creationId xmlns:p14="http://schemas.microsoft.com/office/powerpoint/2010/main" val="406361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59" descr="Grant evaluation process">
            <a:extLst>
              <a:ext uri="{FF2B5EF4-FFF2-40B4-BE49-F238E27FC236}">
                <a16:creationId xmlns:a16="http://schemas.microsoft.com/office/drawing/2014/main" id="{0499AC66-E85E-5BE1-D564-05F9186192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286" b="4445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257363FD-7E77-4145-9483-331A807ADF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6802" cy="6858000"/>
          </a:xfrm>
          <a:prstGeom prst="rect">
            <a:avLst/>
          </a:prstGeom>
          <a:gradFill flip="none" rotWithShape="1">
            <a:gsLst>
              <a:gs pos="28000">
                <a:schemeClr val="bg2">
                  <a:alpha val="84000"/>
                </a:schemeClr>
              </a:gs>
              <a:gs pos="74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F5ADDC-34B0-DA5D-E2DA-8200A9ED0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b="1" dirty="0">
                <a:solidFill>
                  <a:schemeClr val="tx1"/>
                </a:solidFill>
                <a:latin typeface="+mj-lt"/>
                <a:cs typeface="+mj-cs"/>
              </a:rPr>
              <a:t>Evaluation</a:t>
            </a:r>
          </a:p>
        </p:txBody>
      </p:sp>
      <p:graphicFrame>
        <p:nvGraphicFramePr>
          <p:cNvPr id="58" name="Content Placeholder 1" descr="grant Evaluation">
            <a:extLst>
              <a:ext uri="{FF2B5EF4-FFF2-40B4-BE49-F238E27FC236}">
                <a16:creationId xmlns:a16="http://schemas.microsoft.com/office/drawing/2014/main" id="{89F04E4B-0461-3FFA-49AD-F6CE6F0F582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351295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00939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E_Template" id="{8B1FC134-3306-8949-8EE6-54D8D1A68082}" vid="{D023F173-81C9-6C41-B8A8-A9E8365AC2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0CB81E3640024D941636EE6583C541" ma:contentTypeVersion="11" ma:contentTypeDescription="Create a new document." ma:contentTypeScope="" ma:versionID="5642e176c8e0a633241903863b062ae3">
  <xsd:schema xmlns:xsd="http://www.w3.org/2001/XMLSchema" xmlns:xs="http://www.w3.org/2001/XMLSchema" xmlns:p="http://schemas.microsoft.com/office/2006/metadata/properties" xmlns:ns2="62792993-f975-4b19-8846-b2bdeef1cbd2" xmlns:ns3="44c63c8a-9b6f-4c60-8cde-76449f385ed7" targetNamespace="http://schemas.microsoft.com/office/2006/metadata/properties" ma:root="true" ma:fieldsID="8240e75534aec2e555e1524dff7b785d" ns2:_="" ns3:_="">
    <xsd:import namespace="62792993-f975-4b19-8846-b2bdeef1cbd2"/>
    <xsd:import namespace="44c63c8a-9b6f-4c60-8cde-76449f385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792993-f975-4b19-8846-b2bdeef1cb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c63c8a-9b6f-4c60-8cde-76449f385ed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1242708-ef0e-45d4-a0fb-f8917e307e1a}" ma:internalName="TaxCatchAll" ma:showField="CatchAllData" ma:web="44c63c8a-9b6f-4c60-8cde-76449f385e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4c63c8a-9b6f-4c60-8cde-76449f385ed7">
      <UserInfo>
        <DisplayName>Kraft, Peggy (EOE)</DisplayName>
        <AccountId>18</AccountId>
        <AccountType/>
      </UserInfo>
      <UserInfo>
        <DisplayName>Johnston, Karen (DESE)</DisplayName>
        <AccountId>39</AccountId>
        <AccountType/>
      </UserInfo>
      <UserInfo>
        <DisplayName>Stevens, Alison B. (DESE)</DisplayName>
        <AccountId>206</AccountId>
        <AccountType/>
      </UserInfo>
      <UserInfo>
        <DisplayName>Champagne, Erica (DESE)</DisplayName>
        <AccountId>45</AccountId>
        <AccountType/>
      </UserInfo>
    </SharedWithUsers>
    <TaxCatchAll xmlns="44c63c8a-9b6f-4c60-8cde-76449f385ed7" xsi:nil="true"/>
    <lcf76f155ced4ddcb4097134ff3c332f xmlns="62792993-f975-4b19-8846-b2bdeef1cbd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E35D414-55DB-4D6B-B659-F7CB54AAA26E}">
  <ds:schemaRefs>
    <ds:schemaRef ds:uri="44c63c8a-9b6f-4c60-8cde-76449f385ed7"/>
    <ds:schemaRef ds:uri="62792993-f975-4b19-8846-b2bdeef1cbd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0F4F6BA-9256-4D68-961F-89F22BA60E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434A98-F106-45CE-8E8A-DD686612E616}">
  <ds:schemaRefs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62792993-f975-4b19-8846-b2bdeef1cbd2"/>
    <ds:schemaRef ds:uri="http://schemas.microsoft.com/office/infopath/2007/PartnerControls"/>
    <ds:schemaRef ds:uri="http://schemas.openxmlformats.org/package/2006/metadata/core-properties"/>
    <ds:schemaRef ds:uri="44c63c8a-9b6f-4c60-8cde-76449f385ed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</TotalTime>
  <Words>676</Words>
  <Application>Microsoft Office PowerPoint</Application>
  <PresentationFormat>Widescreen</PresentationFormat>
  <Paragraphs>93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alibri Light</vt:lpstr>
      <vt:lpstr>Courier New</vt:lpstr>
      <vt:lpstr>Segoe</vt:lpstr>
      <vt:lpstr>Segoe UI</vt:lpstr>
      <vt:lpstr>Segoe UI Semibold</vt:lpstr>
      <vt:lpstr>Wingdings</vt:lpstr>
      <vt:lpstr>Office Theme</vt:lpstr>
      <vt:lpstr>think-cell Slide</vt:lpstr>
      <vt:lpstr>21st Century Education Advisory Council Meeting</vt:lpstr>
      <vt:lpstr>Welcome!</vt:lpstr>
      <vt:lpstr>Agenda:  Essential Question: What do we want to know about the impact of this grant and how do we find out?</vt:lpstr>
      <vt:lpstr>Roles and Responsibilities</vt:lpstr>
      <vt:lpstr>District SOA Updates</vt:lpstr>
      <vt:lpstr>FY23 SOA Evidence-Based Practice Grant</vt:lpstr>
      <vt:lpstr>Grant chart</vt:lpstr>
      <vt:lpstr>FY24 Recently Posted</vt:lpstr>
      <vt:lpstr>Evaluation</vt:lpstr>
      <vt:lpstr>Program Evaluation:  </vt:lpstr>
      <vt:lpstr>Advisory Council Discussion:  What data could we gather to understand progress and impact?</vt:lpstr>
      <vt:lpstr>Closing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1st Century Education Advisory Council Meeting Presentation May 23, 2023</dc:title>
  <dc:creator>DESE</dc:creator>
  <cp:lastModifiedBy>Zou, Dong (EOE)</cp:lastModifiedBy>
  <cp:revision>4</cp:revision>
  <dcterms:created xsi:type="dcterms:W3CDTF">2022-10-11T20:32:22Z</dcterms:created>
  <dcterms:modified xsi:type="dcterms:W3CDTF">2023-05-22T17:5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May 22 2023 12:00AM</vt:lpwstr>
  </property>
</Properties>
</file>